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  <p:sldMasterId id="2147483733" r:id="rId2"/>
    <p:sldMasterId id="2147483714" r:id="rId3"/>
  </p:sldMasterIdLst>
  <p:notesMasterIdLst>
    <p:notesMasterId r:id="rId22"/>
  </p:notesMasterIdLst>
  <p:sldIdLst>
    <p:sldId id="276" r:id="rId4"/>
    <p:sldId id="1307" r:id="rId5"/>
    <p:sldId id="257" r:id="rId6"/>
    <p:sldId id="326" r:id="rId7"/>
    <p:sldId id="1309" r:id="rId8"/>
    <p:sldId id="1308" r:id="rId9"/>
    <p:sldId id="1311" r:id="rId10"/>
    <p:sldId id="1310" r:id="rId11"/>
    <p:sldId id="1312" r:id="rId12"/>
    <p:sldId id="601" r:id="rId13"/>
    <p:sldId id="1314" r:id="rId14"/>
    <p:sldId id="2147482599" r:id="rId15"/>
    <p:sldId id="1315" r:id="rId16"/>
    <p:sldId id="2147481962" r:id="rId17"/>
    <p:sldId id="2147482598" r:id="rId18"/>
    <p:sldId id="2147482579" r:id="rId19"/>
    <p:sldId id="2147482601" r:id="rId20"/>
    <p:sldId id="2147482600" r:id="rId21"/>
  </p:sldIdLst>
  <p:sldSz cx="12192000" cy="6858000"/>
  <p:notesSz cx="6802438" cy="99345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772E"/>
    <a:srgbClr val="6DAF7F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7" autoAdjust="0"/>
    <p:restoredTop sz="94636" autoAdjust="0"/>
  </p:normalViewPr>
  <p:slideViewPr>
    <p:cSldViewPr snapToGrid="0">
      <p:cViewPr varScale="1">
        <p:scale>
          <a:sx n="98" d="100"/>
          <a:sy n="98" d="100"/>
        </p:scale>
        <p:origin x="107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E:\Talks\2026\Qld%20MH\spend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E:\Talks\2026\Qld%20MH\spend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emphn-my.sharepoint.com/personal/aparna_palekar_emphn_org_au/Documents/Microsoft%20Teams%20Chat%20Files/Out-3%20Completion%20rates%20of%20Clinical%20Outcome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381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1!$N$14:$N$24</c:f>
              <c:numCache>
                <c:formatCode>General</c:formatCode>
                <c:ptCount val="11"/>
                <c:pt idx="0" formatCode="_-* #,##0_-;\-* #,##0_-;_-* &quot;-&quot;??_-;_-@_-">
                  <c:v>340.95437834000001</c:v>
                </c:pt>
                <c:pt idx="2" formatCode="_-* #,##0_-;\-* #,##0_-;_-* &quot;-&quot;??_-;_-@_-">
                  <c:v>973.70542467999996</c:v>
                </c:pt>
                <c:pt idx="3" formatCode="_-* #,##0_-;\-* #,##0_-;_-* &quot;-&quot;??_-;_-@_-">
                  <c:v>30.417914204999999</c:v>
                </c:pt>
                <c:pt idx="4" formatCode="_-* #,##0_-;\-* #,##0_-;_-* &quot;-&quot;??_-;_-@_-">
                  <c:v>70.562808681999996</c:v>
                </c:pt>
                <c:pt idx="5" formatCode="_-* #,##0_-;\-* #,##0_-;_-* &quot;-&quot;??_-;_-@_-">
                  <c:v>2355.1667920999998</c:v>
                </c:pt>
                <c:pt idx="6" formatCode="_-* #,##0_-;\-* #,##0_-;_-* &quot;-&quot;??_-;_-@_-">
                  <c:v>730.84322101999999</c:v>
                </c:pt>
                <c:pt idx="7" formatCode="_-* #,##0_-;\-* #,##0_-;_-* &quot;-&quot;??_-;_-@_-">
                  <c:v>21356.382412999999</c:v>
                </c:pt>
                <c:pt idx="8" formatCode="_-* #,##0_-;\-* #,##0_-;_-* &quot;-&quot;??_-;_-@_-">
                  <c:v>1495.290542</c:v>
                </c:pt>
                <c:pt idx="9" formatCode="_-* #,##0_-;\-* #,##0_-;_-* &quot;-&quot;??_-;_-@_-">
                  <c:v>280.60762855000002</c:v>
                </c:pt>
                <c:pt idx="10" formatCode="_-* #,##0_-;\-* #,##0_-;_-* &quot;-&quot;??_-;_-@_-">
                  <c:v>1094.4686042000001</c:v>
                </c:pt>
              </c:numCache>
            </c:numRef>
          </c:xVal>
          <c:yVal>
            <c:numRef>
              <c:f>Sheet1!$O$14:$O$24</c:f>
              <c:numCache>
                <c:formatCode>General</c:formatCode>
                <c:ptCount val="11"/>
                <c:pt idx="0" formatCode="0%">
                  <c:v>0.31927168021761371</c:v>
                </c:pt>
                <c:pt idx="2" formatCode="0%">
                  <c:v>-4.4909670363972948E-2</c:v>
                </c:pt>
                <c:pt idx="3" formatCode="0%">
                  <c:v>0.1320360662441159</c:v>
                </c:pt>
                <c:pt idx="4" formatCode="0%">
                  <c:v>-6.3704488200870782E-2</c:v>
                </c:pt>
                <c:pt idx="5" formatCode="0%">
                  <c:v>-0.38472046056598658</c:v>
                </c:pt>
                <c:pt idx="6" formatCode="0%">
                  <c:v>-0.25332024925332863</c:v>
                </c:pt>
                <c:pt idx="7" formatCode="0%">
                  <c:v>0.31693262024869595</c:v>
                </c:pt>
                <c:pt idx="8" formatCode="0%">
                  <c:v>1.2306944958399237</c:v>
                </c:pt>
                <c:pt idx="9" formatCode="0%">
                  <c:v>4.0485223511840099E-2</c:v>
                </c:pt>
                <c:pt idx="10" formatCode="0%">
                  <c:v>5.6918754058196866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121-468D-8B3B-C9C58E9D3F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45038656"/>
        <c:axId val="645035296"/>
      </c:scatterChart>
      <c:valAx>
        <c:axId val="64503865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5035296"/>
        <c:crosses val="autoZero"/>
        <c:crossBetween val="midCat"/>
      </c:valAx>
      <c:valAx>
        <c:axId val="6450352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503865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381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1!$N$3:$N$13</c:f>
              <c:numCache>
                <c:formatCode>_-* #,##0_-;\-* #,##0_-;_-* "-"??_-;_-@_-</c:formatCode>
                <c:ptCount val="11"/>
                <c:pt idx="0">
                  <c:v>190.13610643999999</c:v>
                </c:pt>
                <c:pt idx="1">
                  <c:v>15.72684248</c:v>
                </c:pt>
                <c:pt idx="2">
                  <c:v>160.00460268</c:v>
                </c:pt>
                <c:pt idx="3">
                  <c:v>3.0384014121999998</c:v>
                </c:pt>
                <c:pt idx="4">
                  <c:v>16.546067731000001</c:v>
                </c:pt>
                <c:pt idx="5">
                  <c:v>203.307017</c:v>
                </c:pt>
                <c:pt idx="6">
                  <c:v>141.86773488</c:v>
                </c:pt>
                <c:pt idx="7">
                  <c:v>601.28731919999996</c:v>
                </c:pt>
                <c:pt idx="8">
                  <c:v>49.333843823000002</c:v>
                </c:pt>
                <c:pt idx="9">
                  <c:v>104.11681823000001</c:v>
                </c:pt>
                <c:pt idx="10">
                  <c:v>145.9131663</c:v>
                </c:pt>
              </c:numCache>
            </c:numRef>
          </c:xVal>
          <c:yVal>
            <c:numRef>
              <c:f>Sheet1!$O$3:$O$13</c:f>
              <c:numCache>
                <c:formatCode>0%</c:formatCode>
                <c:ptCount val="11"/>
                <c:pt idx="0">
                  <c:v>0.16461864531131282</c:v>
                </c:pt>
                <c:pt idx="1">
                  <c:v>-1.9909310670136331E-2</c:v>
                </c:pt>
                <c:pt idx="2">
                  <c:v>-0.12604508792779134</c:v>
                </c:pt>
                <c:pt idx="3">
                  <c:v>-6.9340112831417999E-2</c:v>
                </c:pt>
                <c:pt idx="4">
                  <c:v>-0.1307987746733994</c:v>
                </c:pt>
                <c:pt idx="5">
                  <c:v>-9.5846892252626562E-2</c:v>
                </c:pt>
                <c:pt idx="6">
                  <c:v>-3.6043782176889277E-2</c:v>
                </c:pt>
                <c:pt idx="7">
                  <c:v>0.26780663243939851</c:v>
                </c:pt>
                <c:pt idx="8">
                  <c:v>0.33469259763374354</c:v>
                </c:pt>
                <c:pt idx="9">
                  <c:v>0.13693368564990185</c:v>
                </c:pt>
                <c:pt idx="10">
                  <c:v>2.8943728811969049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1605-4801-8591-012DCDBB5B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73265487"/>
        <c:axId val="1673269807"/>
      </c:scatterChart>
      <c:valAx>
        <c:axId val="167326548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73269807"/>
        <c:crosses val="autoZero"/>
        <c:crossBetween val="midCat"/>
      </c:valAx>
      <c:valAx>
        <c:axId val="16732698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73265487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/>
              <a:t>% K10 improvement by treatment type YTD FY26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A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Low intensity psychological int'!$F$23</c:f>
              <c:strCache>
                <c:ptCount val="1"/>
                <c:pt idx="0">
                  <c:v>Low intensit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Low intensity psychological int'!$G$22:$I$22</c:f>
              <c:strCache>
                <c:ptCount val="3"/>
                <c:pt idx="0">
                  <c:v>% Significant Improvement</c:v>
                </c:pt>
                <c:pt idx="1">
                  <c:v>% Significant Deterioration</c:v>
                </c:pt>
                <c:pt idx="2">
                  <c:v>% No Change</c:v>
                </c:pt>
              </c:strCache>
            </c:strRef>
          </c:cat>
          <c:val>
            <c:numRef>
              <c:f>'Low intensity psychological int'!$G$23:$I$23</c:f>
              <c:numCache>
                <c:formatCode>0.00%</c:formatCode>
                <c:ptCount val="3"/>
                <c:pt idx="0">
                  <c:v>0.65239999999999998</c:v>
                </c:pt>
                <c:pt idx="1">
                  <c:v>1.9400000000000001E-2</c:v>
                </c:pt>
                <c:pt idx="2">
                  <c:v>0.3281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9B-44B2-AA96-C00C44ABACD3}"/>
            </c:ext>
          </c:extLst>
        </c:ser>
        <c:ser>
          <c:idx val="1"/>
          <c:order val="1"/>
          <c:tx>
            <c:strRef>
              <c:f>'Low intensity psychological int'!$F$24</c:f>
              <c:strCache>
                <c:ptCount val="1"/>
                <c:pt idx="0">
                  <c:v>Psychological Therap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Low intensity psychological int'!$G$22:$I$22</c:f>
              <c:strCache>
                <c:ptCount val="3"/>
                <c:pt idx="0">
                  <c:v>% Significant Improvement</c:v>
                </c:pt>
                <c:pt idx="1">
                  <c:v>% Significant Deterioration</c:v>
                </c:pt>
                <c:pt idx="2">
                  <c:v>% No Change</c:v>
                </c:pt>
              </c:strCache>
            </c:strRef>
          </c:cat>
          <c:val>
            <c:numRef>
              <c:f>'Low intensity psychological int'!$G$24:$I$24</c:f>
              <c:numCache>
                <c:formatCode>0.00%</c:formatCode>
                <c:ptCount val="3"/>
                <c:pt idx="0">
                  <c:v>0.53059999999999996</c:v>
                </c:pt>
                <c:pt idx="1">
                  <c:v>6.1199999999999997E-2</c:v>
                </c:pt>
                <c:pt idx="2">
                  <c:v>0.4082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39B-44B2-AA96-C00C44ABACD3}"/>
            </c:ext>
          </c:extLst>
        </c:ser>
        <c:ser>
          <c:idx val="2"/>
          <c:order val="2"/>
          <c:tx>
            <c:strRef>
              <c:f>'Low intensity psychological int'!$F$25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Low intensity psychological int'!$G$22:$I$22</c:f>
              <c:strCache>
                <c:ptCount val="3"/>
                <c:pt idx="0">
                  <c:v>% Significant Improvement</c:v>
                </c:pt>
                <c:pt idx="1">
                  <c:v>% Significant Deterioration</c:v>
                </c:pt>
                <c:pt idx="2">
                  <c:v>% No Change</c:v>
                </c:pt>
              </c:strCache>
            </c:strRef>
          </c:cat>
          <c:val>
            <c:numRef>
              <c:f>'Low intensity psychological int'!$G$25:$I$25</c:f>
              <c:numCache>
                <c:formatCode>0.00%</c:formatCode>
                <c:ptCount val="3"/>
                <c:pt idx="0">
                  <c:v>0.62539999999999996</c:v>
                </c:pt>
                <c:pt idx="1">
                  <c:v>2.87E-2</c:v>
                </c:pt>
                <c:pt idx="2">
                  <c:v>0.3458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39B-44B2-AA96-C00C44ABAC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30786991"/>
        <c:axId val="2030787471"/>
      </c:barChart>
      <c:catAx>
        <c:axId val="20307869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30787471"/>
        <c:crosses val="autoZero"/>
        <c:auto val="1"/>
        <c:lblAlgn val="ctr"/>
        <c:lblOffset val="100"/>
        <c:noMultiLvlLbl val="0"/>
      </c:catAx>
      <c:valAx>
        <c:axId val="20307874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30786991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FF92CF-449A-4505-9801-7CF29887EC88}" type="doc">
      <dgm:prSet loTypeId="urn:microsoft.com/office/officeart/2005/8/layout/architecture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9CE25583-6DBE-4049-B2A1-2C7858D67677}">
      <dgm:prSet phldrT="[Text]" phldr="0"/>
      <dgm:spPr/>
      <dgm:t>
        <a:bodyPr/>
        <a:lstStyle/>
        <a:p>
          <a:r>
            <a:rPr lang="en-AU" dirty="0"/>
            <a:t>Primary care</a:t>
          </a:r>
        </a:p>
        <a:p>
          <a:r>
            <a:rPr lang="en-AU" dirty="0"/>
            <a:t>(low intensity, Mental Health Check In)</a:t>
          </a:r>
        </a:p>
      </dgm:t>
    </dgm:pt>
    <dgm:pt modelId="{840A0CA7-9F63-41BB-8B52-B8664C767D16}" type="parTrans" cxnId="{F7DBC973-60BA-421D-B7D7-65B68AC70295}">
      <dgm:prSet/>
      <dgm:spPr/>
      <dgm:t>
        <a:bodyPr/>
        <a:lstStyle/>
        <a:p>
          <a:endParaRPr lang="en-AU"/>
        </a:p>
      </dgm:t>
    </dgm:pt>
    <dgm:pt modelId="{B69D629D-3A3C-42DA-98BC-A345DA5FF26F}" type="sibTrans" cxnId="{F7DBC973-60BA-421D-B7D7-65B68AC70295}">
      <dgm:prSet/>
      <dgm:spPr/>
      <dgm:t>
        <a:bodyPr/>
        <a:lstStyle/>
        <a:p>
          <a:endParaRPr lang="en-AU"/>
        </a:p>
      </dgm:t>
    </dgm:pt>
    <dgm:pt modelId="{5155C619-3192-4E88-B528-39E91EF54C04}">
      <dgm:prSet phldrT="[Text]" phldr="0" custT="1"/>
      <dgm:spPr/>
      <dgm:t>
        <a:bodyPr/>
        <a:lstStyle/>
        <a:p>
          <a:r>
            <a:rPr lang="en-AU" sz="3200" dirty="0"/>
            <a:t>Mixed middle:</a:t>
          </a:r>
        </a:p>
        <a:p>
          <a:r>
            <a:rPr lang="en-AU" sz="2000" dirty="0"/>
            <a:t>Some community mental health, lots of private (GPs, psychologists, psychiatrists), NDIS</a:t>
          </a:r>
        </a:p>
      </dgm:t>
    </dgm:pt>
    <dgm:pt modelId="{7030A8DC-962A-4404-8446-3C6D21555B5A}" type="parTrans" cxnId="{4B34086E-88E5-4A29-AD3B-FB7C9878B9D4}">
      <dgm:prSet/>
      <dgm:spPr/>
      <dgm:t>
        <a:bodyPr/>
        <a:lstStyle/>
        <a:p>
          <a:endParaRPr lang="en-AU"/>
        </a:p>
      </dgm:t>
    </dgm:pt>
    <dgm:pt modelId="{D27397D2-B4AB-4DA2-AE5D-8749C65A99C2}" type="sibTrans" cxnId="{4B34086E-88E5-4A29-AD3B-FB7C9878B9D4}">
      <dgm:prSet/>
      <dgm:spPr/>
      <dgm:t>
        <a:bodyPr/>
        <a:lstStyle/>
        <a:p>
          <a:endParaRPr lang="en-AU"/>
        </a:p>
      </dgm:t>
    </dgm:pt>
    <dgm:pt modelId="{5137C358-41AA-484A-9CC1-BE48860958B7}">
      <dgm:prSet phldrT="[Text]" phldr="0" custT="1"/>
      <dgm:spPr/>
      <dgm:t>
        <a:bodyPr/>
        <a:lstStyle/>
        <a:p>
          <a:r>
            <a:rPr lang="en-AU" sz="3200" dirty="0"/>
            <a:t>NDIS</a:t>
          </a:r>
        </a:p>
        <a:p>
          <a:r>
            <a:rPr lang="en-AU" sz="1800" dirty="0"/>
            <a:t>(individualised, privatised)</a:t>
          </a:r>
        </a:p>
      </dgm:t>
    </dgm:pt>
    <dgm:pt modelId="{564BF75C-9FDC-4DDC-A5E2-F340F432D475}" type="parTrans" cxnId="{F777A3EA-1515-43BD-8367-E475B0681E5D}">
      <dgm:prSet/>
      <dgm:spPr/>
      <dgm:t>
        <a:bodyPr/>
        <a:lstStyle/>
        <a:p>
          <a:endParaRPr lang="en-AU"/>
        </a:p>
      </dgm:t>
    </dgm:pt>
    <dgm:pt modelId="{7664330D-AF2E-49AC-B867-E82E78103006}" type="sibTrans" cxnId="{F777A3EA-1515-43BD-8367-E475B0681E5D}">
      <dgm:prSet/>
      <dgm:spPr/>
      <dgm:t>
        <a:bodyPr/>
        <a:lstStyle/>
        <a:p>
          <a:endParaRPr lang="en-AU"/>
        </a:p>
      </dgm:t>
    </dgm:pt>
    <dgm:pt modelId="{2B509A1B-5088-4141-BB2F-8A3D974BA454}">
      <dgm:prSet phldrT="[Text]" phldr="0"/>
      <dgm:spPr/>
      <dgm:t>
        <a:bodyPr/>
        <a:lstStyle/>
        <a:p>
          <a:r>
            <a:rPr lang="en-AU" dirty="0"/>
            <a:t>Public hospital</a:t>
          </a:r>
        </a:p>
      </dgm:t>
    </dgm:pt>
    <dgm:pt modelId="{1F272FDC-F89B-4826-874A-A56ABA993347}" type="parTrans" cxnId="{054F4888-6961-4889-838C-8E7B61935D77}">
      <dgm:prSet/>
      <dgm:spPr/>
      <dgm:t>
        <a:bodyPr/>
        <a:lstStyle/>
        <a:p>
          <a:endParaRPr lang="en-AU"/>
        </a:p>
      </dgm:t>
    </dgm:pt>
    <dgm:pt modelId="{C75DE90E-B281-4499-9FED-B9FD0A7F9D41}" type="sibTrans" cxnId="{054F4888-6961-4889-838C-8E7B61935D77}">
      <dgm:prSet/>
      <dgm:spPr/>
      <dgm:t>
        <a:bodyPr/>
        <a:lstStyle/>
        <a:p>
          <a:endParaRPr lang="en-AU"/>
        </a:p>
      </dgm:t>
    </dgm:pt>
    <dgm:pt modelId="{F9C11E67-5B31-4061-817E-4360BAE7F57C}">
      <dgm:prSet phldrT="[Text]" phldr="0"/>
      <dgm:spPr/>
      <dgm:t>
        <a:bodyPr/>
        <a:lstStyle/>
        <a:p>
          <a:r>
            <a:rPr lang="en-AU" dirty="0"/>
            <a:t>PHNs</a:t>
          </a:r>
        </a:p>
        <a:p>
          <a:r>
            <a:rPr lang="en-AU" dirty="0"/>
            <a:t>(</a:t>
          </a:r>
          <a:r>
            <a:rPr lang="en-AU" dirty="0" err="1"/>
            <a:t>inc</a:t>
          </a:r>
          <a:r>
            <a:rPr lang="en-AU" dirty="0"/>
            <a:t> Medicare Mental Health)</a:t>
          </a:r>
        </a:p>
      </dgm:t>
    </dgm:pt>
    <dgm:pt modelId="{F5A549F7-3DF9-461A-8A31-0B166AC81403}" type="parTrans" cxnId="{BE1C2656-4CAA-47E8-906F-C5E4F0B7109F}">
      <dgm:prSet/>
      <dgm:spPr/>
      <dgm:t>
        <a:bodyPr/>
        <a:lstStyle/>
        <a:p>
          <a:endParaRPr lang="en-AU"/>
        </a:p>
      </dgm:t>
    </dgm:pt>
    <dgm:pt modelId="{DC98123C-8CB7-45A3-BB59-FD0277A1203A}" type="sibTrans" cxnId="{BE1C2656-4CAA-47E8-906F-C5E4F0B7109F}">
      <dgm:prSet/>
      <dgm:spPr/>
      <dgm:t>
        <a:bodyPr/>
        <a:lstStyle/>
        <a:p>
          <a:endParaRPr lang="en-AU"/>
        </a:p>
      </dgm:t>
    </dgm:pt>
    <dgm:pt modelId="{C153D169-70F1-493D-AC0C-217424987057}">
      <dgm:prSet phldrT="[Text]" phldr="0"/>
      <dgm:spPr/>
      <dgm:t>
        <a:bodyPr/>
        <a:lstStyle/>
        <a:p>
          <a:r>
            <a:rPr lang="en-AU" dirty="0"/>
            <a:t>Private specialists, hospitals</a:t>
          </a:r>
        </a:p>
      </dgm:t>
    </dgm:pt>
    <dgm:pt modelId="{0CDD2B75-CBBD-48AD-8368-A37EC88E3710}" type="parTrans" cxnId="{218F6C57-519C-47B6-9CDA-CBF94BDC7890}">
      <dgm:prSet/>
      <dgm:spPr/>
      <dgm:t>
        <a:bodyPr/>
        <a:lstStyle/>
        <a:p>
          <a:endParaRPr lang="en-AU"/>
        </a:p>
      </dgm:t>
    </dgm:pt>
    <dgm:pt modelId="{1350C87F-48A0-4128-BFB3-5CB4FE1E9B96}" type="sibTrans" cxnId="{218F6C57-519C-47B6-9CDA-CBF94BDC7890}">
      <dgm:prSet/>
      <dgm:spPr/>
      <dgm:t>
        <a:bodyPr/>
        <a:lstStyle/>
        <a:p>
          <a:endParaRPr lang="en-AU"/>
        </a:p>
      </dgm:t>
    </dgm:pt>
    <dgm:pt modelId="{D364B4D9-DF79-490A-BCE9-FE09D5DDBDDA}" type="pres">
      <dgm:prSet presAssocID="{F7FF92CF-449A-4505-9801-7CF29887EC88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708CA37E-93EF-41DF-9299-49878B05ADA7}" type="pres">
      <dgm:prSet presAssocID="{9CE25583-6DBE-4049-B2A1-2C7858D67677}" presName="vertOne" presStyleCnt="0"/>
      <dgm:spPr/>
    </dgm:pt>
    <dgm:pt modelId="{0B8F6C5F-CC72-44D4-AFAC-80FDDB6DC295}" type="pres">
      <dgm:prSet presAssocID="{9CE25583-6DBE-4049-B2A1-2C7858D67677}" presName="txOne" presStyleLbl="node0" presStyleIdx="0" presStyleCnt="1">
        <dgm:presLayoutVars>
          <dgm:chPref val="3"/>
        </dgm:presLayoutVars>
      </dgm:prSet>
      <dgm:spPr/>
    </dgm:pt>
    <dgm:pt modelId="{68F5708A-5633-4AFA-BE40-3E9A462817F2}" type="pres">
      <dgm:prSet presAssocID="{9CE25583-6DBE-4049-B2A1-2C7858D67677}" presName="parTransOne" presStyleCnt="0"/>
      <dgm:spPr/>
    </dgm:pt>
    <dgm:pt modelId="{C92948B3-A0E6-4C54-BDEE-5A9B1AE69349}" type="pres">
      <dgm:prSet presAssocID="{9CE25583-6DBE-4049-B2A1-2C7858D67677}" presName="horzOne" presStyleCnt="0"/>
      <dgm:spPr/>
    </dgm:pt>
    <dgm:pt modelId="{FF0660A2-4FD4-476B-89B2-9F875A7ACBE5}" type="pres">
      <dgm:prSet presAssocID="{5155C619-3192-4E88-B528-39E91EF54C04}" presName="vertTwo" presStyleCnt="0"/>
      <dgm:spPr/>
    </dgm:pt>
    <dgm:pt modelId="{4379F923-A074-459B-A914-1091DE85FC6A}" type="pres">
      <dgm:prSet presAssocID="{5155C619-3192-4E88-B528-39E91EF54C04}" presName="txTwo" presStyleLbl="node2" presStyleIdx="0" presStyleCnt="2">
        <dgm:presLayoutVars>
          <dgm:chPref val="3"/>
        </dgm:presLayoutVars>
      </dgm:prSet>
      <dgm:spPr/>
    </dgm:pt>
    <dgm:pt modelId="{FD1D14E9-2A54-4A83-9DBB-6128A13A7F51}" type="pres">
      <dgm:prSet presAssocID="{5155C619-3192-4E88-B528-39E91EF54C04}" presName="parTransTwo" presStyleCnt="0"/>
      <dgm:spPr/>
    </dgm:pt>
    <dgm:pt modelId="{09DC0D4B-916A-4098-8E09-E2503ACBF247}" type="pres">
      <dgm:prSet presAssocID="{5155C619-3192-4E88-B528-39E91EF54C04}" presName="horzTwo" presStyleCnt="0"/>
      <dgm:spPr/>
    </dgm:pt>
    <dgm:pt modelId="{E3E956E1-ABE6-482F-AE97-77F52EF6D86A}" type="pres">
      <dgm:prSet presAssocID="{5137C358-41AA-484A-9CC1-BE48860958B7}" presName="vertThree" presStyleCnt="0"/>
      <dgm:spPr/>
    </dgm:pt>
    <dgm:pt modelId="{F2804927-8A0C-4064-946F-ADBD7610564E}" type="pres">
      <dgm:prSet presAssocID="{5137C358-41AA-484A-9CC1-BE48860958B7}" presName="txThree" presStyleLbl="node3" presStyleIdx="0" presStyleCnt="3">
        <dgm:presLayoutVars>
          <dgm:chPref val="3"/>
        </dgm:presLayoutVars>
      </dgm:prSet>
      <dgm:spPr/>
    </dgm:pt>
    <dgm:pt modelId="{B9C73A60-951D-4738-B7BE-D6B017C4004B}" type="pres">
      <dgm:prSet presAssocID="{5137C358-41AA-484A-9CC1-BE48860958B7}" presName="horzThree" presStyleCnt="0"/>
      <dgm:spPr/>
    </dgm:pt>
    <dgm:pt modelId="{C2888520-2BEA-40BA-BD9A-4704C8FEBE35}" type="pres">
      <dgm:prSet presAssocID="{7664330D-AF2E-49AC-B867-E82E78103006}" presName="sibSpaceThree" presStyleCnt="0"/>
      <dgm:spPr/>
    </dgm:pt>
    <dgm:pt modelId="{548F43CF-3156-42A0-8C96-DFE9EB848B79}" type="pres">
      <dgm:prSet presAssocID="{2B509A1B-5088-4141-BB2F-8A3D974BA454}" presName="vertThree" presStyleCnt="0"/>
      <dgm:spPr/>
    </dgm:pt>
    <dgm:pt modelId="{E21A581F-FAEE-4937-A772-E5E8732AEF1F}" type="pres">
      <dgm:prSet presAssocID="{2B509A1B-5088-4141-BB2F-8A3D974BA454}" presName="txThree" presStyleLbl="node3" presStyleIdx="1" presStyleCnt="3">
        <dgm:presLayoutVars>
          <dgm:chPref val="3"/>
        </dgm:presLayoutVars>
      </dgm:prSet>
      <dgm:spPr/>
    </dgm:pt>
    <dgm:pt modelId="{0DEBBA70-93B4-4A5E-8F43-8E9380C6B3DF}" type="pres">
      <dgm:prSet presAssocID="{2B509A1B-5088-4141-BB2F-8A3D974BA454}" presName="horzThree" presStyleCnt="0"/>
      <dgm:spPr/>
    </dgm:pt>
    <dgm:pt modelId="{C8EF5153-6AF8-4F1D-8DFD-1FD20265EE10}" type="pres">
      <dgm:prSet presAssocID="{D27397D2-B4AB-4DA2-AE5D-8749C65A99C2}" presName="sibSpaceTwo" presStyleCnt="0"/>
      <dgm:spPr/>
    </dgm:pt>
    <dgm:pt modelId="{9E9DC8D9-2EF8-48EE-99C6-8B77AF0A70CC}" type="pres">
      <dgm:prSet presAssocID="{F9C11E67-5B31-4061-817E-4360BAE7F57C}" presName="vertTwo" presStyleCnt="0"/>
      <dgm:spPr/>
    </dgm:pt>
    <dgm:pt modelId="{A1D22A0D-F3E7-4395-8E25-E1B9C4C0ACCC}" type="pres">
      <dgm:prSet presAssocID="{F9C11E67-5B31-4061-817E-4360BAE7F57C}" presName="txTwo" presStyleLbl="node2" presStyleIdx="1" presStyleCnt="2">
        <dgm:presLayoutVars>
          <dgm:chPref val="3"/>
        </dgm:presLayoutVars>
      </dgm:prSet>
      <dgm:spPr/>
    </dgm:pt>
    <dgm:pt modelId="{E303FB96-1D12-4C27-9CE6-46256DC1383F}" type="pres">
      <dgm:prSet presAssocID="{F9C11E67-5B31-4061-817E-4360BAE7F57C}" presName="parTransTwo" presStyleCnt="0"/>
      <dgm:spPr/>
    </dgm:pt>
    <dgm:pt modelId="{CBB1B4A4-0F9A-4CBB-B390-5DBFC26D579E}" type="pres">
      <dgm:prSet presAssocID="{F9C11E67-5B31-4061-817E-4360BAE7F57C}" presName="horzTwo" presStyleCnt="0"/>
      <dgm:spPr/>
    </dgm:pt>
    <dgm:pt modelId="{1912DD0C-C165-43B2-B7F2-4C1479240578}" type="pres">
      <dgm:prSet presAssocID="{C153D169-70F1-493D-AC0C-217424987057}" presName="vertThree" presStyleCnt="0"/>
      <dgm:spPr/>
    </dgm:pt>
    <dgm:pt modelId="{225C248E-6C8A-460E-A2ED-94E545ECEFBE}" type="pres">
      <dgm:prSet presAssocID="{C153D169-70F1-493D-AC0C-217424987057}" presName="txThree" presStyleLbl="node3" presStyleIdx="2" presStyleCnt="3">
        <dgm:presLayoutVars>
          <dgm:chPref val="3"/>
        </dgm:presLayoutVars>
      </dgm:prSet>
      <dgm:spPr/>
    </dgm:pt>
    <dgm:pt modelId="{D9A7E7F7-38FD-4042-9C5B-E27453CE1D0A}" type="pres">
      <dgm:prSet presAssocID="{C153D169-70F1-493D-AC0C-217424987057}" presName="horzThree" presStyleCnt="0"/>
      <dgm:spPr/>
    </dgm:pt>
  </dgm:ptLst>
  <dgm:cxnLst>
    <dgm:cxn modelId="{93393B1E-81B2-4B2D-B16D-880864D883C0}" type="presOf" srcId="{C153D169-70F1-493D-AC0C-217424987057}" destId="{225C248E-6C8A-460E-A2ED-94E545ECEFBE}" srcOrd="0" destOrd="0" presId="urn:microsoft.com/office/officeart/2005/8/layout/architecture"/>
    <dgm:cxn modelId="{7CB04F39-C721-43C3-8105-DF895B3D1E77}" type="presOf" srcId="{5137C358-41AA-484A-9CC1-BE48860958B7}" destId="{F2804927-8A0C-4064-946F-ADBD7610564E}" srcOrd="0" destOrd="0" presId="urn:microsoft.com/office/officeart/2005/8/layout/architecture"/>
    <dgm:cxn modelId="{AB98FE4A-72A3-4A10-AC34-1B8A2F33DCC6}" type="presOf" srcId="{F7FF92CF-449A-4505-9801-7CF29887EC88}" destId="{D364B4D9-DF79-490A-BCE9-FE09D5DDBDDA}" srcOrd="0" destOrd="0" presId="urn:microsoft.com/office/officeart/2005/8/layout/architecture"/>
    <dgm:cxn modelId="{D24AD66C-1CCD-4326-A2A6-94CA6233F895}" type="presOf" srcId="{2B509A1B-5088-4141-BB2F-8A3D974BA454}" destId="{E21A581F-FAEE-4937-A772-E5E8732AEF1F}" srcOrd="0" destOrd="0" presId="urn:microsoft.com/office/officeart/2005/8/layout/architecture"/>
    <dgm:cxn modelId="{4B34086E-88E5-4A29-AD3B-FB7C9878B9D4}" srcId="{9CE25583-6DBE-4049-B2A1-2C7858D67677}" destId="{5155C619-3192-4E88-B528-39E91EF54C04}" srcOrd="0" destOrd="0" parTransId="{7030A8DC-962A-4404-8446-3C6D21555B5A}" sibTransId="{D27397D2-B4AB-4DA2-AE5D-8749C65A99C2}"/>
    <dgm:cxn modelId="{BC5FC26F-1F7F-41AB-A586-9DA2E53FC286}" type="presOf" srcId="{9CE25583-6DBE-4049-B2A1-2C7858D67677}" destId="{0B8F6C5F-CC72-44D4-AFAC-80FDDB6DC295}" srcOrd="0" destOrd="0" presId="urn:microsoft.com/office/officeart/2005/8/layout/architecture"/>
    <dgm:cxn modelId="{F7DBC973-60BA-421D-B7D7-65B68AC70295}" srcId="{F7FF92CF-449A-4505-9801-7CF29887EC88}" destId="{9CE25583-6DBE-4049-B2A1-2C7858D67677}" srcOrd="0" destOrd="0" parTransId="{840A0CA7-9F63-41BB-8B52-B8664C767D16}" sibTransId="{B69D629D-3A3C-42DA-98BC-A345DA5FF26F}"/>
    <dgm:cxn modelId="{BE1C2656-4CAA-47E8-906F-C5E4F0B7109F}" srcId="{9CE25583-6DBE-4049-B2A1-2C7858D67677}" destId="{F9C11E67-5B31-4061-817E-4360BAE7F57C}" srcOrd="1" destOrd="0" parTransId="{F5A549F7-3DF9-461A-8A31-0B166AC81403}" sibTransId="{DC98123C-8CB7-45A3-BB59-FD0277A1203A}"/>
    <dgm:cxn modelId="{218F6C57-519C-47B6-9CDA-CBF94BDC7890}" srcId="{F9C11E67-5B31-4061-817E-4360BAE7F57C}" destId="{C153D169-70F1-493D-AC0C-217424987057}" srcOrd="0" destOrd="0" parTransId="{0CDD2B75-CBBD-48AD-8368-A37EC88E3710}" sibTransId="{1350C87F-48A0-4128-BFB3-5CB4FE1E9B96}"/>
    <dgm:cxn modelId="{054F4888-6961-4889-838C-8E7B61935D77}" srcId="{5155C619-3192-4E88-B528-39E91EF54C04}" destId="{2B509A1B-5088-4141-BB2F-8A3D974BA454}" srcOrd="1" destOrd="0" parTransId="{1F272FDC-F89B-4826-874A-A56ABA993347}" sibTransId="{C75DE90E-B281-4499-9FED-B9FD0A7F9D41}"/>
    <dgm:cxn modelId="{C94B5EA1-A2A2-4601-AE9C-1FEB633C528A}" type="presOf" srcId="{F9C11E67-5B31-4061-817E-4360BAE7F57C}" destId="{A1D22A0D-F3E7-4395-8E25-E1B9C4C0ACCC}" srcOrd="0" destOrd="0" presId="urn:microsoft.com/office/officeart/2005/8/layout/architecture"/>
    <dgm:cxn modelId="{842822BC-6696-4F79-B3EC-1A695F2FCE6E}" type="presOf" srcId="{5155C619-3192-4E88-B528-39E91EF54C04}" destId="{4379F923-A074-459B-A914-1091DE85FC6A}" srcOrd="0" destOrd="0" presId="urn:microsoft.com/office/officeart/2005/8/layout/architecture"/>
    <dgm:cxn modelId="{F777A3EA-1515-43BD-8367-E475B0681E5D}" srcId="{5155C619-3192-4E88-B528-39E91EF54C04}" destId="{5137C358-41AA-484A-9CC1-BE48860958B7}" srcOrd="0" destOrd="0" parTransId="{564BF75C-9FDC-4DDC-A5E2-F340F432D475}" sibTransId="{7664330D-AF2E-49AC-B867-E82E78103006}"/>
    <dgm:cxn modelId="{9D377DDE-E5B0-49B2-BC8D-0B55FDD46BC7}" type="presParOf" srcId="{D364B4D9-DF79-490A-BCE9-FE09D5DDBDDA}" destId="{708CA37E-93EF-41DF-9299-49878B05ADA7}" srcOrd="0" destOrd="0" presId="urn:microsoft.com/office/officeart/2005/8/layout/architecture"/>
    <dgm:cxn modelId="{4E2B6A1C-2282-4F32-84AD-F34CB1E3F41E}" type="presParOf" srcId="{708CA37E-93EF-41DF-9299-49878B05ADA7}" destId="{0B8F6C5F-CC72-44D4-AFAC-80FDDB6DC295}" srcOrd="0" destOrd="0" presId="urn:microsoft.com/office/officeart/2005/8/layout/architecture"/>
    <dgm:cxn modelId="{FCD2BE75-400A-43CE-A2C1-14556200AA2D}" type="presParOf" srcId="{708CA37E-93EF-41DF-9299-49878B05ADA7}" destId="{68F5708A-5633-4AFA-BE40-3E9A462817F2}" srcOrd="1" destOrd="0" presId="urn:microsoft.com/office/officeart/2005/8/layout/architecture"/>
    <dgm:cxn modelId="{8FCEA73A-38D5-43C0-939E-4985CF8B8D32}" type="presParOf" srcId="{708CA37E-93EF-41DF-9299-49878B05ADA7}" destId="{C92948B3-A0E6-4C54-BDEE-5A9B1AE69349}" srcOrd="2" destOrd="0" presId="urn:microsoft.com/office/officeart/2005/8/layout/architecture"/>
    <dgm:cxn modelId="{C9111C2A-DEB6-4EA5-B1D8-D931C274F4F7}" type="presParOf" srcId="{C92948B3-A0E6-4C54-BDEE-5A9B1AE69349}" destId="{FF0660A2-4FD4-476B-89B2-9F875A7ACBE5}" srcOrd="0" destOrd="0" presId="urn:microsoft.com/office/officeart/2005/8/layout/architecture"/>
    <dgm:cxn modelId="{6BEB9A33-6012-4035-88C9-3C3A7178E799}" type="presParOf" srcId="{FF0660A2-4FD4-476B-89B2-9F875A7ACBE5}" destId="{4379F923-A074-459B-A914-1091DE85FC6A}" srcOrd="0" destOrd="0" presId="urn:microsoft.com/office/officeart/2005/8/layout/architecture"/>
    <dgm:cxn modelId="{A65064CE-49C4-4D7E-B66C-778A879B7509}" type="presParOf" srcId="{FF0660A2-4FD4-476B-89B2-9F875A7ACBE5}" destId="{FD1D14E9-2A54-4A83-9DBB-6128A13A7F51}" srcOrd="1" destOrd="0" presId="urn:microsoft.com/office/officeart/2005/8/layout/architecture"/>
    <dgm:cxn modelId="{F20BBC75-F707-41C9-8647-B7C29D663D31}" type="presParOf" srcId="{FF0660A2-4FD4-476B-89B2-9F875A7ACBE5}" destId="{09DC0D4B-916A-4098-8E09-E2503ACBF247}" srcOrd="2" destOrd="0" presId="urn:microsoft.com/office/officeart/2005/8/layout/architecture"/>
    <dgm:cxn modelId="{9B4E3F3F-38F8-41EC-9251-BCD62005E29E}" type="presParOf" srcId="{09DC0D4B-916A-4098-8E09-E2503ACBF247}" destId="{E3E956E1-ABE6-482F-AE97-77F52EF6D86A}" srcOrd="0" destOrd="0" presId="urn:microsoft.com/office/officeart/2005/8/layout/architecture"/>
    <dgm:cxn modelId="{5163A247-7B18-4085-881C-8BC7BDBCA310}" type="presParOf" srcId="{E3E956E1-ABE6-482F-AE97-77F52EF6D86A}" destId="{F2804927-8A0C-4064-946F-ADBD7610564E}" srcOrd="0" destOrd="0" presId="urn:microsoft.com/office/officeart/2005/8/layout/architecture"/>
    <dgm:cxn modelId="{D596851F-47C7-4100-998B-8683D3BF80C6}" type="presParOf" srcId="{E3E956E1-ABE6-482F-AE97-77F52EF6D86A}" destId="{B9C73A60-951D-4738-B7BE-D6B017C4004B}" srcOrd="1" destOrd="0" presId="urn:microsoft.com/office/officeart/2005/8/layout/architecture"/>
    <dgm:cxn modelId="{F5101C6C-FFEA-411D-9934-2DE57F028E8A}" type="presParOf" srcId="{09DC0D4B-916A-4098-8E09-E2503ACBF247}" destId="{C2888520-2BEA-40BA-BD9A-4704C8FEBE35}" srcOrd="1" destOrd="0" presId="urn:microsoft.com/office/officeart/2005/8/layout/architecture"/>
    <dgm:cxn modelId="{C1C4FD05-7341-4820-A34E-798A7642FBE5}" type="presParOf" srcId="{09DC0D4B-916A-4098-8E09-E2503ACBF247}" destId="{548F43CF-3156-42A0-8C96-DFE9EB848B79}" srcOrd="2" destOrd="0" presId="urn:microsoft.com/office/officeart/2005/8/layout/architecture"/>
    <dgm:cxn modelId="{B44961D7-806E-475E-A8DA-3F38552BA0C0}" type="presParOf" srcId="{548F43CF-3156-42A0-8C96-DFE9EB848B79}" destId="{E21A581F-FAEE-4937-A772-E5E8732AEF1F}" srcOrd="0" destOrd="0" presId="urn:microsoft.com/office/officeart/2005/8/layout/architecture"/>
    <dgm:cxn modelId="{872C1A1C-8459-4F41-ACB3-7C8D243AD26F}" type="presParOf" srcId="{548F43CF-3156-42A0-8C96-DFE9EB848B79}" destId="{0DEBBA70-93B4-4A5E-8F43-8E9380C6B3DF}" srcOrd="1" destOrd="0" presId="urn:microsoft.com/office/officeart/2005/8/layout/architecture"/>
    <dgm:cxn modelId="{5BD9C83C-34A3-4761-BBF4-780300A458C6}" type="presParOf" srcId="{C92948B3-A0E6-4C54-BDEE-5A9B1AE69349}" destId="{C8EF5153-6AF8-4F1D-8DFD-1FD20265EE10}" srcOrd="1" destOrd="0" presId="urn:microsoft.com/office/officeart/2005/8/layout/architecture"/>
    <dgm:cxn modelId="{3A433284-3F10-4491-81F5-ECCC7B83F8CA}" type="presParOf" srcId="{C92948B3-A0E6-4C54-BDEE-5A9B1AE69349}" destId="{9E9DC8D9-2EF8-48EE-99C6-8B77AF0A70CC}" srcOrd="2" destOrd="0" presId="urn:microsoft.com/office/officeart/2005/8/layout/architecture"/>
    <dgm:cxn modelId="{D3CADEE6-5EBC-47C9-99F5-833CC759CF10}" type="presParOf" srcId="{9E9DC8D9-2EF8-48EE-99C6-8B77AF0A70CC}" destId="{A1D22A0D-F3E7-4395-8E25-E1B9C4C0ACCC}" srcOrd="0" destOrd="0" presId="urn:microsoft.com/office/officeart/2005/8/layout/architecture"/>
    <dgm:cxn modelId="{20271F6A-9EAD-4820-833D-BA0D86DF2F4E}" type="presParOf" srcId="{9E9DC8D9-2EF8-48EE-99C6-8B77AF0A70CC}" destId="{E303FB96-1D12-4C27-9CE6-46256DC1383F}" srcOrd="1" destOrd="0" presId="urn:microsoft.com/office/officeart/2005/8/layout/architecture"/>
    <dgm:cxn modelId="{33B9BB1C-3501-4E1B-AA63-64D79C46CB03}" type="presParOf" srcId="{9E9DC8D9-2EF8-48EE-99C6-8B77AF0A70CC}" destId="{CBB1B4A4-0F9A-4CBB-B390-5DBFC26D579E}" srcOrd="2" destOrd="0" presId="urn:microsoft.com/office/officeart/2005/8/layout/architecture"/>
    <dgm:cxn modelId="{10D822B2-F659-4DC2-A42F-F8F38852BD9B}" type="presParOf" srcId="{CBB1B4A4-0F9A-4CBB-B390-5DBFC26D579E}" destId="{1912DD0C-C165-43B2-B7F2-4C1479240578}" srcOrd="0" destOrd="0" presId="urn:microsoft.com/office/officeart/2005/8/layout/architecture"/>
    <dgm:cxn modelId="{B5412CB6-B004-4065-8F6F-75696C1CFC16}" type="presParOf" srcId="{1912DD0C-C165-43B2-B7F2-4C1479240578}" destId="{225C248E-6C8A-460E-A2ED-94E545ECEFBE}" srcOrd="0" destOrd="0" presId="urn:microsoft.com/office/officeart/2005/8/layout/architecture"/>
    <dgm:cxn modelId="{2D0F6F35-3D94-4901-9E6F-8AE3B83AD8B5}" type="presParOf" srcId="{1912DD0C-C165-43B2-B7F2-4C1479240578}" destId="{D9A7E7F7-38FD-4042-9C5B-E27453CE1D0A}" srcOrd="1" destOrd="0" presId="urn:microsoft.com/office/officeart/2005/8/layout/architectur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3090952-766E-4843-920A-BB54726AEBBC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DE98A51A-AF9D-4F88-9807-97A16E473B9D}">
      <dgm:prSet phldrT="[Text]" phldr="0" custT="1"/>
      <dgm:spPr>
        <a:solidFill>
          <a:schemeClr val="accent1">
            <a:lumMod val="75000"/>
          </a:schemeClr>
        </a:solidFill>
      </dgm:spPr>
      <dgm:t>
        <a:bodyPr/>
        <a:lstStyle/>
        <a:p>
          <a:br>
            <a:rPr lang="en-AU" sz="2000" b="1">
              <a:solidFill>
                <a:schemeClr val="bg1"/>
              </a:solidFill>
              <a:latin typeface="Karla" pitchFamily="2" charset="0"/>
              <a:ea typeface="Karla" pitchFamily="2" charset="0"/>
            </a:rPr>
          </a:br>
          <a:br>
            <a:rPr lang="en-AU" sz="2000" b="1">
              <a:solidFill>
                <a:schemeClr val="bg1"/>
              </a:solidFill>
              <a:latin typeface="Karla" pitchFamily="2" charset="0"/>
              <a:ea typeface="Karla" pitchFamily="2" charset="0"/>
            </a:rPr>
          </a:br>
          <a:r>
            <a:rPr lang="en-AU" sz="2000" b="1">
              <a:solidFill>
                <a:schemeClr val="bg1"/>
              </a:solidFill>
              <a:latin typeface="Karla" pitchFamily="2" charset="0"/>
              <a:ea typeface="Karla" pitchFamily="2" charset="0"/>
            </a:rPr>
            <a:t>Payment         KPIs</a:t>
          </a:r>
        </a:p>
      </dgm:t>
    </dgm:pt>
    <dgm:pt modelId="{85E25868-39B1-4FF6-A595-D688DAE089C4}" type="parTrans" cxnId="{DECA2985-E15B-4E9C-9AFA-ACD8F4B78B14}">
      <dgm:prSet/>
      <dgm:spPr/>
      <dgm:t>
        <a:bodyPr/>
        <a:lstStyle/>
        <a:p>
          <a:endParaRPr lang="en-AU"/>
        </a:p>
      </dgm:t>
    </dgm:pt>
    <dgm:pt modelId="{F8628159-CC6A-4DB9-86D5-BB09A45A2CC9}" type="sibTrans" cxnId="{DECA2985-E15B-4E9C-9AFA-ACD8F4B78B14}">
      <dgm:prSet/>
      <dgm:spPr/>
      <dgm:t>
        <a:bodyPr/>
        <a:lstStyle/>
        <a:p>
          <a:endParaRPr lang="en-AU"/>
        </a:p>
      </dgm:t>
    </dgm:pt>
    <dgm:pt modelId="{0D2E90CD-9874-405D-94A3-3090870E6C64}">
      <dgm:prSet phldrT="[Text]" custT="1"/>
      <dgm:spPr/>
      <dgm:t>
        <a:bodyPr/>
        <a:lstStyle/>
        <a:p>
          <a:pPr>
            <a:spcAft>
              <a:spcPts val="0"/>
            </a:spcAft>
            <a:buClrTx/>
            <a:buSzTx/>
            <a:buFontTx/>
            <a:buNone/>
          </a:pPr>
          <a:r>
            <a:rPr kumimoji="0" lang="en-AU" sz="2000" b="1" i="0" u="none" strike="noStrike" cap="none" spc="0" normalizeH="0" baseline="0" noProof="0">
              <a:ln/>
              <a:solidFill>
                <a:schemeClr val="bg1"/>
              </a:solidFill>
              <a:effectLst/>
              <a:uLnTx/>
              <a:uFillTx/>
              <a:latin typeface="Karla" pitchFamily="2" charset="0"/>
              <a:ea typeface="+mn-ea"/>
              <a:cs typeface="+mn-cs"/>
            </a:rPr>
            <a:t>Key Performance Indicators </a:t>
          </a:r>
        </a:p>
        <a:p>
          <a:pPr>
            <a:spcAft>
              <a:spcPct val="35000"/>
            </a:spcAft>
            <a:buClrTx/>
            <a:buSzTx/>
            <a:buFontTx/>
            <a:buNone/>
          </a:pPr>
          <a:r>
            <a:rPr kumimoji="0" lang="en-AU" sz="2000" b="1" i="0" u="none" strike="noStrike" cap="none" spc="0" normalizeH="0" baseline="0" noProof="0">
              <a:ln/>
              <a:solidFill>
                <a:schemeClr val="bg1"/>
              </a:solidFill>
              <a:effectLst/>
              <a:uLnTx/>
              <a:uFillTx/>
              <a:latin typeface="Karla" pitchFamily="2" charset="0"/>
              <a:ea typeface="+mn-ea"/>
              <a:cs typeface="+mn-cs"/>
            </a:rPr>
            <a:t>(&amp; Deliverables) </a:t>
          </a:r>
          <a:endParaRPr lang="en-AU" sz="2000">
            <a:solidFill>
              <a:schemeClr val="bg1"/>
            </a:solidFill>
          </a:endParaRPr>
        </a:p>
      </dgm:t>
    </dgm:pt>
    <dgm:pt modelId="{F6E5FE9C-8178-47C6-8EF2-E93AEEA25E10}" type="parTrans" cxnId="{65A38BFB-A0C5-4E3A-9B85-961BC003A000}">
      <dgm:prSet/>
      <dgm:spPr/>
      <dgm:t>
        <a:bodyPr/>
        <a:lstStyle/>
        <a:p>
          <a:endParaRPr lang="en-AU"/>
        </a:p>
      </dgm:t>
    </dgm:pt>
    <dgm:pt modelId="{8A66B46E-A107-496C-AE1A-A7BFB4B430E6}" type="sibTrans" cxnId="{65A38BFB-A0C5-4E3A-9B85-961BC003A000}">
      <dgm:prSet/>
      <dgm:spPr/>
      <dgm:t>
        <a:bodyPr/>
        <a:lstStyle/>
        <a:p>
          <a:endParaRPr lang="en-AU"/>
        </a:p>
      </dgm:t>
    </dgm:pt>
    <dgm:pt modelId="{B63F7F77-E898-4EF2-984C-7F649752585D}">
      <dgm:prSet phldrT="[Text]" custT="1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pPr>
            <a:buClrTx/>
            <a:buSzTx/>
            <a:buFontTx/>
            <a:buNone/>
          </a:pPr>
          <a:r>
            <a:rPr lang="en-AU" sz="2000" b="1">
              <a:solidFill>
                <a:schemeClr val="bg1"/>
              </a:solidFill>
              <a:latin typeface="Karla" pitchFamily="2" charset="0"/>
            </a:rPr>
            <a:t>Data requirements</a:t>
          </a:r>
          <a:endParaRPr lang="en-AU" sz="2000">
            <a:solidFill>
              <a:schemeClr val="bg1"/>
            </a:solidFill>
          </a:endParaRPr>
        </a:p>
      </dgm:t>
    </dgm:pt>
    <dgm:pt modelId="{714CA1A8-4BE4-4D4A-8766-BF5D33DE2A3F}" type="parTrans" cxnId="{A18E0998-504E-43DB-8D67-738E912C8633}">
      <dgm:prSet/>
      <dgm:spPr/>
      <dgm:t>
        <a:bodyPr/>
        <a:lstStyle/>
        <a:p>
          <a:endParaRPr lang="en-AU"/>
        </a:p>
      </dgm:t>
    </dgm:pt>
    <dgm:pt modelId="{1FD6D9AB-CD36-48FB-85C7-2E6BB26AF0C1}" type="sibTrans" cxnId="{A18E0998-504E-43DB-8D67-738E912C8633}">
      <dgm:prSet/>
      <dgm:spPr/>
      <dgm:t>
        <a:bodyPr/>
        <a:lstStyle/>
        <a:p>
          <a:endParaRPr lang="en-AU"/>
        </a:p>
      </dgm:t>
    </dgm:pt>
    <dgm:pt modelId="{DAB6D54F-BC19-43BA-8996-26483F7D7F6A}" type="pres">
      <dgm:prSet presAssocID="{E3090952-766E-4843-920A-BB54726AEBBC}" presName="Name0" presStyleCnt="0">
        <dgm:presLayoutVars>
          <dgm:dir/>
          <dgm:animLvl val="lvl"/>
          <dgm:resizeHandles val="exact"/>
        </dgm:presLayoutVars>
      </dgm:prSet>
      <dgm:spPr/>
    </dgm:pt>
    <dgm:pt modelId="{889FFF24-9065-4CC7-A6C3-A31B5832E9A9}" type="pres">
      <dgm:prSet presAssocID="{DE98A51A-AF9D-4F88-9807-97A16E473B9D}" presName="Name8" presStyleCnt="0"/>
      <dgm:spPr/>
    </dgm:pt>
    <dgm:pt modelId="{EB23AAC4-9FE2-419C-A162-15250B19168A}" type="pres">
      <dgm:prSet presAssocID="{DE98A51A-AF9D-4F88-9807-97A16E473B9D}" presName="level" presStyleLbl="node1" presStyleIdx="0" presStyleCnt="3">
        <dgm:presLayoutVars>
          <dgm:chMax val="1"/>
          <dgm:bulletEnabled val="1"/>
        </dgm:presLayoutVars>
      </dgm:prSet>
      <dgm:spPr/>
    </dgm:pt>
    <dgm:pt modelId="{967BD983-1D35-4FE6-98BC-D2A83B394E60}" type="pres">
      <dgm:prSet presAssocID="{DE98A51A-AF9D-4F88-9807-97A16E473B9D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1A65B74-5975-4448-B439-00466E060E25}" type="pres">
      <dgm:prSet presAssocID="{0D2E90CD-9874-405D-94A3-3090870E6C64}" presName="Name8" presStyleCnt="0"/>
      <dgm:spPr/>
    </dgm:pt>
    <dgm:pt modelId="{EB91A540-132E-4B01-848F-D34075B641FE}" type="pres">
      <dgm:prSet presAssocID="{0D2E90CD-9874-405D-94A3-3090870E6C64}" presName="level" presStyleLbl="node1" presStyleIdx="1" presStyleCnt="3">
        <dgm:presLayoutVars>
          <dgm:chMax val="1"/>
          <dgm:bulletEnabled val="1"/>
        </dgm:presLayoutVars>
      </dgm:prSet>
      <dgm:spPr/>
    </dgm:pt>
    <dgm:pt modelId="{91467F2B-372E-476C-B7CB-DB2AB032888B}" type="pres">
      <dgm:prSet presAssocID="{0D2E90CD-9874-405D-94A3-3090870E6C6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E0497940-2093-4F59-873C-9EAEC3A626D6}" type="pres">
      <dgm:prSet presAssocID="{B63F7F77-E898-4EF2-984C-7F649752585D}" presName="Name8" presStyleCnt="0"/>
      <dgm:spPr/>
    </dgm:pt>
    <dgm:pt modelId="{9AE83908-AB65-45A5-9818-9EC72301FCF7}" type="pres">
      <dgm:prSet presAssocID="{B63F7F77-E898-4EF2-984C-7F649752585D}" presName="level" presStyleLbl="node1" presStyleIdx="2" presStyleCnt="3">
        <dgm:presLayoutVars>
          <dgm:chMax val="1"/>
          <dgm:bulletEnabled val="1"/>
        </dgm:presLayoutVars>
      </dgm:prSet>
      <dgm:spPr/>
    </dgm:pt>
    <dgm:pt modelId="{082D5420-CA21-488E-AF7C-7CED5DD7BF64}" type="pres">
      <dgm:prSet presAssocID="{B63F7F77-E898-4EF2-984C-7F649752585D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EE0D3409-9467-4F6E-A174-1D1D61C7B4AA}" type="presOf" srcId="{0D2E90CD-9874-405D-94A3-3090870E6C64}" destId="{91467F2B-372E-476C-B7CB-DB2AB032888B}" srcOrd="1" destOrd="0" presId="urn:microsoft.com/office/officeart/2005/8/layout/pyramid1"/>
    <dgm:cxn modelId="{44083A3D-7CDB-4324-8AC6-8D64EEC40299}" type="presOf" srcId="{B63F7F77-E898-4EF2-984C-7F649752585D}" destId="{9AE83908-AB65-45A5-9818-9EC72301FCF7}" srcOrd="0" destOrd="0" presId="urn:microsoft.com/office/officeart/2005/8/layout/pyramid1"/>
    <dgm:cxn modelId="{E4943440-F4C9-42B2-BE4E-C89FF8549D7D}" type="presOf" srcId="{E3090952-766E-4843-920A-BB54726AEBBC}" destId="{DAB6D54F-BC19-43BA-8996-26483F7D7F6A}" srcOrd="0" destOrd="0" presId="urn:microsoft.com/office/officeart/2005/8/layout/pyramid1"/>
    <dgm:cxn modelId="{47A3F46B-BFD3-49D2-8D4F-EFAD0D531188}" type="presOf" srcId="{0D2E90CD-9874-405D-94A3-3090870E6C64}" destId="{EB91A540-132E-4B01-848F-D34075B641FE}" srcOrd="0" destOrd="0" presId="urn:microsoft.com/office/officeart/2005/8/layout/pyramid1"/>
    <dgm:cxn modelId="{F183166F-37F2-46D3-9322-E2B1370E2CE3}" type="presOf" srcId="{DE98A51A-AF9D-4F88-9807-97A16E473B9D}" destId="{967BD983-1D35-4FE6-98BC-D2A83B394E60}" srcOrd="1" destOrd="0" presId="urn:microsoft.com/office/officeart/2005/8/layout/pyramid1"/>
    <dgm:cxn modelId="{EEF30A57-F2B4-4DBA-97F2-47D834A61D1F}" type="presOf" srcId="{DE98A51A-AF9D-4F88-9807-97A16E473B9D}" destId="{EB23AAC4-9FE2-419C-A162-15250B19168A}" srcOrd="0" destOrd="0" presId="urn:microsoft.com/office/officeart/2005/8/layout/pyramid1"/>
    <dgm:cxn modelId="{09A73A81-018D-42E1-9D2A-B32F319C4311}" type="presOf" srcId="{B63F7F77-E898-4EF2-984C-7F649752585D}" destId="{082D5420-CA21-488E-AF7C-7CED5DD7BF64}" srcOrd="1" destOrd="0" presId="urn:microsoft.com/office/officeart/2005/8/layout/pyramid1"/>
    <dgm:cxn modelId="{DECA2985-E15B-4E9C-9AFA-ACD8F4B78B14}" srcId="{E3090952-766E-4843-920A-BB54726AEBBC}" destId="{DE98A51A-AF9D-4F88-9807-97A16E473B9D}" srcOrd="0" destOrd="0" parTransId="{85E25868-39B1-4FF6-A595-D688DAE089C4}" sibTransId="{F8628159-CC6A-4DB9-86D5-BB09A45A2CC9}"/>
    <dgm:cxn modelId="{A18E0998-504E-43DB-8D67-738E912C8633}" srcId="{E3090952-766E-4843-920A-BB54726AEBBC}" destId="{B63F7F77-E898-4EF2-984C-7F649752585D}" srcOrd="2" destOrd="0" parTransId="{714CA1A8-4BE4-4D4A-8766-BF5D33DE2A3F}" sibTransId="{1FD6D9AB-CD36-48FB-85C7-2E6BB26AF0C1}"/>
    <dgm:cxn modelId="{65A38BFB-A0C5-4E3A-9B85-961BC003A000}" srcId="{E3090952-766E-4843-920A-BB54726AEBBC}" destId="{0D2E90CD-9874-405D-94A3-3090870E6C64}" srcOrd="1" destOrd="0" parTransId="{F6E5FE9C-8178-47C6-8EF2-E93AEEA25E10}" sibTransId="{8A66B46E-A107-496C-AE1A-A7BFB4B430E6}"/>
    <dgm:cxn modelId="{84102C85-2A7C-4A2B-891B-92FF2DEDE5BD}" type="presParOf" srcId="{DAB6D54F-BC19-43BA-8996-26483F7D7F6A}" destId="{889FFF24-9065-4CC7-A6C3-A31B5832E9A9}" srcOrd="0" destOrd="0" presId="urn:microsoft.com/office/officeart/2005/8/layout/pyramid1"/>
    <dgm:cxn modelId="{05215852-F2CD-44CF-ADF7-A35C259CB225}" type="presParOf" srcId="{889FFF24-9065-4CC7-A6C3-A31B5832E9A9}" destId="{EB23AAC4-9FE2-419C-A162-15250B19168A}" srcOrd="0" destOrd="0" presId="urn:microsoft.com/office/officeart/2005/8/layout/pyramid1"/>
    <dgm:cxn modelId="{6D842124-9D94-4971-A17D-8840912C208E}" type="presParOf" srcId="{889FFF24-9065-4CC7-A6C3-A31B5832E9A9}" destId="{967BD983-1D35-4FE6-98BC-D2A83B394E60}" srcOrd="1" destOrd="0" presId="urn:microsoft.com/office/officeart/2005/8/layout/pyramid1"/>
    <dgm:cxn modelId="{59EFCA70-50A2-48B9-BEBD-DDE831A5C861}" type="presParOf" srcId="{DAB6D54F-BC19-43BA-8996-26483F7D7F6A}" destId="{D1A65B74-5975-4448-B439-00466E060E25}" srcOrd="1" destOrd="0" presId="urn:microsoft.com/office/officeart/2005/8/layout/pyramid1"/>
    <dgm:cxn modelId="{CC08B928-521E-45C1-9B5C-E60C4609EE01}" type="presParOf" srcId="{D1A65B74-5975-4448-B439-00466E060E25}" destId="{EB91A540-132E-4B01-848F-D34075B641FE}" srcOrd="0" destOrd="0" presId="urn:microsoft.com/office/officeart/2005/8/layout/pyramid1"/>
    <dgm:cxn modelId="{831F1A3C-E2CA-41E4-B6CF-2FB2730B52B1}" type="presParOf" srcId="{D1A65B74-5975-4448-B439-00466E060E25}" destId="{91467F2B-372E-476C-B7CB-DB2AB032888B}" srcOrd="1" destOrd="0" presId="urn:microsoft.com/office/officeart/2005/8/layout/pyramid1"/>
    <dgm:cxn modelId="{71F41848-90E7-4944-9CDC-73DE5EBB20AC}" type="presParOf" srcId="{DAB6D54F-BC19-43BA-8996-26483F7D7F6A}" destId="{E0497940-2093-4F59-873C-9EAEC3A626D6}" srcOrd="2" destOrd="0" presId="urn:microsoft.com/office/officeart/2005/8/layout/pyramid1"/>
    <dgm:cxn modelId="{90D322FF-6314-4861-8B46-1B44AE8D0D7F}" type="presParOf" srcId="{E0497940-2093-4F59-873C-9EAEC3A626D6}" destId="{9AE83908-AB65-45A5-9818-9EC72301FCF7}" srcOrd="0" destOrd="0" presId="urn:microsoft.com/office/officeart/2005/8/layout/pyramid1"/>
    <dgm:cxn modelId="{7246028E-B278-483D-866D-A130E788C160}" type="presParOf" srcId="{E0497940-2093-4F59-873C-9EAEC3A626D6}" destId="{082D5420-CA21-488E-AF7C-7CED5DD7BF64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D9F79CE-8964-4AA8-9A61-F91BF0ECFB6F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1E544CB6-DF90-404B-984C-938A9A84AD43}">
      <dgm:prSet phldrT="[Text]" phldr="0" custT="1"/>
      <dgm:spPr/>
      <dgm:t>
        <a:bodyPr/>
        <a:lstStyle/>
        <a:p>
          <a:r>
            <a:rPr lang="en-AU" sz="1600" dirty="0"/>
            <a:t>Funding fragmentation from Commonwealth</a:t>
          </a:r>
        </a:p>
      </dgm:t>
    </dgm:pt>
    <dgm:pt modelId="{129B2287-F40B-4465-BCBC-4247D02FC80C}" type="parTrans" cxnId="{C017BC31-D3DD-4065-B5D9-DC5D41710213}">
      <dgm:prSet/>
      <dgm:spPr/>
      <dgm:t>
        <a:bodyPr/>
        <a:lstStyle/>
        <a:p>
          <a:endParaRPr lang="en-AU" sz="2800"/>
        </a:p>
      </dgm:t>
    </dgm:pt>
    <dgm:pt modelId="{A9979D08-8B49-4188-BC4C-1887E442C3D4}" type="sibTrans" cxnId="{C017BC31-D3DD-4065-B5D9-DC5D41710213}">
      <dgm:prSet custT="1"/>
      <dgm:spPr/>
      <dgm:t>
        <a:bodyPr/>
        <a:lstStyle/>
        <a:p>
          <a:endParaRPr lang="en-AU" sz="1100"/>
        </a:p>
      </dgm:t>
    </dgm:pt>
    <dgm:pt modelId="{806A57A1-61E8-4E47-B6CA-5F0849B29CFA}">
      <dgm:prSet phldrT="[Text]" phldr="0" custT="1"/>
      <dgm:spPr/>
      <dgm:t>
        <a:bodyPr/>
        <a:lstStyle/>
        <a:p>
          <a:r>
            <a:rPr lang="en-AU" sz="1600" dirty="0"/>
            <a:t>Delivery fragmentation</a:t>
          </a:r>
        </a:p>
      </dgm:t>
    </dgm:pt>
    <dgm:pt modelId="{8095EE05-0195-4EF8-B7D5-DCBE79389498}" type="parTrans" cxnId="{D51889FC-37FF-4624-B812-BBA6BEBE90AA}">
      <dgm:prSet/>
      <dgm:spPr/>
      <dgm:t>
        <a:bodyPr/>
        <a:lstStyle/>
        <a:p>
          <a:endParaRPr lang="en-AU" sz="2800"/>
        </a:p>
      </dgm:t>
    </dgm:pt>
    <dgm:pt modelId="{3EE253D5-29FA-4D6B-A938-21DB95A0F9B5}" type="sibTrans" cxnId="{D51889FC-37FF-4624-B812-BBA6BEBE90AA}">
      <dgm:prSet custT="1"/>
      <dgm:spPr/>
      <dgm:t>
        <a:bodyPr/>
        <a:lstStyle/>
        <a:p>
          <a:endParaRPr lang="en-AU" sz="1100"/>
        </a:p>
      </dgm:t>
    </dgm:pt>
    <dgm:pt modelId="{6D66BF7B-E701-4362-B2A5-18199DCCFDA4}">
      <dgm:prSet phldrT="[Text]" phldr="0" custT="1"/>
      <dgm:spPr/>
      <dgm:t>
        <a:bodyPr/>
        <a:lstStyle/>
        <a:p>
          <a:r>
            <a:rPr lang="en-AU" sz="1600" dirty="0"/>
            <a:t>Potential failure to meet needs and inefficiency in delivery </a:t>
          </a:r>
        </a:p>
      </dgm:t>
    </dgm:pt>
    <dgm:pt modelId="{60914932-EBDE-47D4-9264-3D2B327E25A0}" type="parTrans" cxnId="{9A6681AF-6C2B-409D-BA8E-5CBF9B0D9177}">
      <dgm:prSet/>
      <dgm:spPr/>
      <dgm:t>
        <a:bodyPr/>
        <a:lstStyle/>
        <a:p>
          <a:endParaRPr lang="en-AU" sz="2800"/>
        </a:p>
      </dgm:t>
    </dgm:pt>
    <dgm:pt modelId="{141E5A92-08D9-4401-9D20-F183EE32E66A}" type="sibTrans" cxnId="{9A6681AF-6C2B-409D-BA8E-5CBF9B0D9177}">
      <dgm:prSet/>
      <dgm:spPr>
        <a:solidFill>
          <a:schemeClr val="bg1"/>
        </a:solidFill>
        <a:ln>
          <a:solidFill>
            <a:schemeClr val="bg1"/>
          </a:solidFill>
        </a:ln>
      </dgm:spPr>
      <dgm:t>
        <a:bodyPr/>
        <a:lstStyle/>
        <a:p>
          <a:endParaRPr lang="en-AU" sz="2800"/>
        </a:p>
      </dgm:t>
    </dgm:pt>
    <dgm:pt modelId="{666DB0BC-40E7-4940-A0D3-596F0CC49444}">
      <dgm:prSet phldrT="[Text]" phldr="0" custT="1"/>
      <dgm:spPr/>
      <dgm:t>
        <a:bodyPr/>
        <a:lstStyle/>
        <a:p>
          <a:r>
            <a:rPr lang="en-AU" sz="1600"/>
            <a:t>Funding fragmentation by PHN</a:t>
          </a:r>
          <a:endParaRPr lang="en-AU" sz="1600" dirty="0"/>
        </a:p>
      </dgm:t>
    </dgm:pt>
    <dgm:pt modelId="{B4B64D54-FBE7-4ECA-B2BF-23A81D81D9A1}" type="parTrans" cxnId="{2B6F422F-8092-464F-BF80-0C39FE171D1D}">
      <dgm:prSet/>
      <dgm:spPr/>
      <dgm:t>
        <a:bodyPr/>
        <a:lstStyle/>
        <a:p>
          <a:endParaRPr lang="en-AU" sz="2800"/>
        </a:p>
      </dgm:t>
    </dgm:pt>
    <dgm:pt modelId="{02FD55FB-AB2D-4A0A-9F7F-FAE9CB59E3C9}" type="sibTrans" cxnId="{2B6F422F-8092-464F-BF80-0C39FE171D1D}">
      <dgm:prSet custT="1"/>
      <dgm:spPr/>
      <dgm:t>
        <a:bodyPr/>
        <a:lstStyle/>
        <a:p>
          <a:endParaRPr lang="en-AU" sz="1100"/>
        </a:p>
      </dgm:t>
    </dgm:pt>
    <dgm:pt modelId="{48ADBF14-1E09-4B82-94B4-E41C13E5C21F}" type="pres">
      <dgm:prSet presAssocID="{2D9F79CE-8964-4AA8-9A61-F91BF0ECFB6F}" presName="Name0" presStyleCnt="0">
        <dgm:presLayoutVars>
          <dgm:dir/>
          <dgm:resizeHandles val="exact"/>
        </dgm:presLayoutVars>
      </dgm:prSet>
      <dgm:spPr/>
    </dgm:pt>
    <dgm:pt modelId="{38B72AAA-32D8-464D-879A-FE7A51A2ABEA}" type="pres">
      <dgm:prSet presAssocID="{1E544CB6-DF90-404B-984C-938A9A84AD43}" presName="node" presStyleLbl="node1" presStyleIdx="0" presStyleCnt="4">
        <dgm:presLayoutVars>
          <dgm:bulletEnabled val="1"/>
        </dgm:presLayoutVars>
      </dgm:prSet>
      <dgm:spPr/>
    </dgm:pt>
    <dgm:pt modelId="{A6B521D5-D062-4F3B-B14F-4493643EF018}" type="pres">
      <dgm:prSet presAssocID="{A9979D08-8B49-4188-BC4C-1887E442C3D4}" presName="sibTrans" presStyleLbl="sibTrans2D1" presStyleIdx="0" presStyleCnt="3"/>
      <dgm:spPr/>
    </dgm:pt>
    <dgm:pt modelId="{7062BC18-0594-4200-9911-BFEF061C4698}" type="pres">
      <dgm:prSet presAssocID="{A9979D08-8B49-4188-BC4C-1887E442C3D4}" presName="connectorText" presStyleLbl="sibTrans2D1" presStyleIdx="0" presStyleCnt="3"/>
      <dgm:spPr/>
    </dgm:pt>
    <dgm:pt modelId="{3B3F94BD-462D-4172-81BE-A820312CD051}" type="pres">
      <dgm:prSet presAssocID="{666DB0BC-40E7-4940-A0D3-596F0CC49444}" presName="node" presStyleLbl="node1" presStyleIdx="1" presStyleCnt="4">
        <dgm:presLayoutVars>
          <dgm:bulletEnabled val="1"/>
        </dgm:presLayoutVars>
      </dgm:prSet>
      <dgm:spPr/>
    </dgm:pt>
    <dgm:pt modelId="{1DD475A2-0829-4390-BA81-73697276C5E6}" type="pres">
      <dgm:prSet presAssocID="{02FD55FB-AB2D-4A0A-9F7F-FAE9CB59E3C9}" presName="sibTrans" presStyleLbl="sibTrans2D1" presStyleIdx="1" presStyleCnt="3"/>
      <dgm:spPr/>
    </dgm:pt>
    <dgm:pt modelId="{758DBEE2-9D3A-4C0B-B277-7F09B52A9A2B}" type="pres">
      <dgm:prSet presAssocID="{02FD55FB-AB2D-4A0A-9F7F-FAE9CB59E3C9}" presName="connectorText" presStyleLbl="sibTrans2D1" presStyleIdx="1" presStyleCnt="3"/>
      <dgm:spPr/>
    </dgm:pt>
    <dgm:pt modelId="{C7163F8B-3916-4B48-8DB2-6316FB0C4B79}" type="pres">
      <dgm:prSet presAssocID="{806A57A1-61E8-4E47-B6CA-5F0849B29CFA}" presName="node" presStyleLbl="node1" presStyleIdx="2" presStyleCnt="4">
        <dgm:presLayoutVars>
          <dgm:bulletEnabled val="1"/>
        </dgm:presLayoutVars>
      </dgm:prSet>
      <dgm:spPr/>
    </dgm:pt>
    <dgm:pt modelId="{45AA73EC-56DF-46C9-8DB7-8181D522BF4F}" type="pres">
      <dgm:prSet presAssocID="{3EE253D5-29FA-4D6B-A938-21DB95A0F9B5}" presName="sibTrans" presStyleLbl="sibTrans2D1" presStyleIdx="2" presStyleCnt="3"/>
      <dgm:spPr/>
    </dgm:pt>
    <dgm:pt modelId="{0DFDEB38-682C-4D0F-8E39-89158686DF0B}" type="pres">
      <dgm:prSet presAssocID="{3EE253D5-29FA-4D6B-A938-21DB95A0F9B5}" presName="connectorText" presStyleLbl="sibTrans2D1" presStyleIdx="2" presStyleCnt="3"/>
      <dgm:spPr/>
    </dgm:pt>
    <dgm:pt modelId="{4474CC11-455B-4767-9888-B875339FEA3E}" type="pres">
      <dgm:prSet presAssocID="{6D66BF7B-E701-4362-B2A5-18199DCCFDA4}" presName="node" presStyleLbl="node1" presStyleIdx="3" presStyleCnt="4">
        <dgm:presLayoutVars>
          <dgm:bulletEnabled val="1"/>
        </dgm:presLayoutVars>
      </dgm:prSet>
      <dgm:spPr/>
    </dgm:pt>
  </dgm:ptLst>
  <dgm:cxnLst>
    <dgm:cxn modelId="{C0D49C0C-F0BE-4D1A-95E8-60A92E051650}" type="presOf" srcId="{02FD55FB-AB2D-4A0A-9F7F-FAE9CB59E3C9}" destId="{758DBEE2-9D3A-4C0B-B277-7F09B52A9A2B}" srcOrd="1" destOrd="0" presId="urn:microsoft.com/office/officeart/2005/8/layout/process1"/>
    <dgm:cxn modelId="{0ED4C52B-4CC5-4FC2-A454-64DE8223440D}" type="presOf" srcId="{6D66BF7B-E701-4362-B2A5-18199DCCFDA4}" destId="{4474CC11-455B-4767-9888-B875339FEA3E}" srcOrd="0" destOrd="0" presId="urn:microsoft.com/office/officeart/2005/8/layout/process1"/>
    <dgm:cxn modelId="{2B6F422F-8092-464F-BF80-0C39FE171D1D}" srcId="{2D9F79CE-8964-4AA8-9A61-F91BF0ECFB6F}" destId="{666DB0BC-40E7-4940-A0D3-596F0CC49444}" srcOrd="1" destOrd="0" parTransId="{B4B64D54-FBE7-4ECA-B2BF-23A81D81D9A1}" sibTransId="{02FD55FB-AB2D-4A0A-9F7F-FAE9CB59E3C9}"/>
    <dgm:cxn modelId="{24439B31-1F8B-4AD4-B9BE-A2267DCC8FC6}" type="presOf" srcId="{3EE253D5-29FA-4D6B-A938-21DB95A0F9B5}" destId="{0DFDEB38-682C-4D0F-8E39-89158686DF0B}" srcOrd="1" destOrd="0" presId="urn:microsoft.com/office/officeart/2005/8/layout/process1"/>
    <dgm:cxn modelId="{C017BC31-D3DD-4065-B5D9-DC5D41710213}" srcId="{2D9F79CE-8964-4AA8-9A61-F91BF0ECFB6F}" destId="{1E544CB6-DF90-404B-984C-938A9A84AD43}" srcOrd="0" destOrd="0" parTransId="{129B2287-F40B-4465-BCBC-4247D02FC80C}" sibTransId="{A9979D08-8B49-4188-BC4C-1887E442C3D4}"/>
    <dgm:cxn modelId="{7711BB33-F28E-430F-98D2-A51F522EC0EF}" type="presOf" srcId="{A9979D08-8B49-4188-BC4C-1887E442C3D4}" destId="{7062BC18-0594-4200-9911-BFEF061C4698}" srcOrd="1" destOrd="0" presId="urn:microsoft.com/office/officeart/2005/8/layout/process1"/>
    <dgm:cxn modelId="{C8A98B70-2C92-4BB1-A7FC-A859D0746519}" type="presOf" srcId="{3EE253D5-29FA-4D6B-A938-21DB95A0F9B5}" destId="{45AA73EC-56DF-46C9-8DB7-8181D522BF4F}" srcOrd="0" destOrd="0" presId="urn:microsoft.com/office/officeart/2005/8/layout/process1"/>
    <dgm:cxn modelId="{C1EFB359-0B9B-4085-970E-8AFBAE9587B7}" type="presOf" srcId="{2D9F79CE-8964-4AA8-9A61-F91BF0ECFB6F}" destId="{48ADBF14-1E09-4B82-94B4-E41C13E5C21F}" srcOrd="0" destOrd="0" presId="urn:microsoft.com/office/officeart/2005/8/layout/process1"/>
    <dgm:cxn modelId="{27EF497B-EA42-4921-82C3-A42319A04AF5}" type="presOf" srcId="{1E544CB6-DF90-404B-984C-938A9A84AD43}" destId="{38B72AAA-32D8-464D-879A-FE7A51A2ABEA}" srcOrd="0" destOrd="0" presId="urn:microsoft.com/office/officeart/2005/8/layout/process1"/>
    <dgm:cxn modelId="{3CE0D785-2CA7-400A-9D65-7CA53293DC07}" type="presOf" srcId="{806A57A1-61E8-4E47-B6CA-5F0849B29CFA}" destId="{C7163F8B-3916-4B48-8DB2-6316FB0C4B79}" srcOrd="0" destOrd="0" presId="urn:microsoft.com/office/officeart/2005/8/layout/process1"/>
    <dgm:cxn modelId="{598CDF8A-37FE-4079-9A17-3F4DE63D0261}" type="presOf" srcId="{A9979D08-8B49-4188-BC4C-1887E442C3D4}" destId="{A6B521D5-D062-4F3B-B14F-4493643EF018}" srcOrd="0" destOrd="0" presId="urn:microsoft.com/office/officeart/2005/8/layout/process1"/>
    <dgm:cxn modelId="{8A23719B-16CB-403E-A5EB-A9489847CABF}" type="presOf" srcId="{02FD55FB-AB2D-4A0A-9F7F-FAE9CB59E3C9}" destId="{1DD475A2-0829-4390-BA81-73697276C5E6}" srcOrd="0" destOrd="0" presId="urn:microsoft.com/office/officeart/2005/8/layout/process1"/>
    <dgm:cxn modelId="{A1A277A2-01B5-45FB-9C20-8A39E848B3DC}" type="presOf" srcId="{666DB0BC-40E7-4940-A0D3-596F0CC49444}" destId="{3B3F94BD-462D-4172-81BE-A820312CD051}" srcOrd="0" destOrd="0" presId="urn:microsoft.com/office/officeart/2005/8/layout/process1"/>
    <dgm:cxn modelId="{9A6681AF-6C2B-409D-BA8E-5CBF9B0D9177}" srcId="{2D9F79CE-8964-4AA8-9A61-F91BF0ECFB6F}" destId="{6D66BF7B-E701-4362-B2A5-18199DCCFDA4}" srcOrd="3" destOrd="0" parTransId="{60914932-EBDE-47D4-9264-3D2B327E25A0}" sibTransId="{141E5A92-08D9-4401-9D20-F183EE32E66A}"/>
    <dgm:cxn modelId="{D51889FC-37FF-4624-B812-BBA6BEBE90AA}" srcId="{2D9F79CE-8964-4AA8-9A61-F91BF0ECFB6F}" destId="{806A57A1-61E8-4E47-B6CA-5F0849B29CFA}" srcOrd="2" destOrd="0" parTransId="{8095EE05-0195-4EF8-B7D5-DCBE79389498}" sibTransId="{3EE253D5-29FA-4D6B-A938-21DB95A0F9B5}"/>
    <dgm:cxn modelId="{699DCE5D-2818-4E1E-B372-651F1A53A87B}" type="presParOf" srcId="{48ADBF14-1E09-4B82-94B4-E41C13E5C21F}" destId="{38B72AAA-32D8-464D-879A-FE7A51A2ABEA}" srcOrd="0" destOrd="0" presId="urn:microsoft.com/office/officeart/2005/8/layout/process1"/>
    <dgm:cxn modelId="{362357B6-5FDA-402E-9286-C71DD9FDF8FF}" type="presParOf" srcId="{48ADBF14-1E09-4B82-94B4-E41C13E5C21F}" destId="{A6B521D5-D062-4F3B-B14F-4493643EF018}" srcOrd="1" destOrd="0" presId="urn:microsoft.com/office/officeart/2005/8/layout/process1"/>
    <dgm:cxn modelId="{910D953C-EB52-4B3E-AA7B-12158661349C}" type="presParOf" srcId="{A6B521D5-D062-4F3B-B14F-4493643EF018}" destId="{7062BC18-0594-4200-9911-BFEF061C4698}" srcOrd="0" destOrd="0" presId="urn:microsoft.com/office/officeart/2005/8/layout/process1"/>
    <dgm:cxn modelId="{FF93EBE2-FA22-4B55-980C-37497670E08C}" type="presParOf" srcId="{48ADBF14-1E09-4B82-94B4-E41C13E5C21F}" destId="{3B3F94BD-462D-4172-81BE-A820312CD051}" srcOrd="2" destOrd="0" presId="urn:microsoft.com/office/officeart/2005/8/layout/process1"/>
    <dgm:cxn modelId="{61EFDD6B-02B8-4141-8719-487EB025627A}" type="presParOf" srcId="{48ADBF14-1E09-4B82-94B4-E41C13E5C21F}" destId="{1DD475A2-0829-4390-BA81-73697276C5E6}" srcOrd="3" destOrd="0" presId="urn:microsoft.com/office/officeart/2005/8/layout/process1"/>
    <dgm:cxn modelId="{0E414EB6-0A03-4718-B53F-3575614EFD77}" type="presParOf" srcId="{1DD475A2-0829-4390-BA81-73697276C5E6}" destId="{758DBEE2-9D3A-4C0B-B277-7F09B52A9A2B}" srcOrd="0" destOrd="0" presId="urn:microsoft.com/office/officeart/2005/8/layout/process1"/>
    <dgm:cxn modelId="{158EFD78-E2A8-42E9-B046-780942D4FF45}" type="presParOf" srcId="{48ADBF14-1E09-4B82-94B4-E41C13E5C21F}" destId="{C7163F8B-3916-4B48-8DB2-6316FB0C4B79}" srcOrd="4" destOrd="0" presId="urn:microsoft.com/office/officeart/2005/8/layout/process1"/>
    <dgm:cxn modelId="{E607AA62-7DE5-4D79-8274-BC06E802FB2F}" type="presParOf" srcId="{48ADBF14-1E09-4B82-94B4-E41C13E5C21F}" destId="{45AA73EC-56DF-46C9-8DB7-8181D522BF4F}" srcOrd="5" destOrd="0" presId="urn:microsoft.com/office/officeart/2005/8/layout/process1"/>
    <dgm:cxn modelId="{4128AADB-1AC5-4565-B7AB-BEF55FF2AE1A}" type="presParOf" srcId="{45AA73EC-56DF-46C9-8DB7-8181D522BF4F}" destId="{0DFDEB38-682C-4D0F-8E39-89158686DF0B}" srcOrd="0" destOrd="0" presId="urn:microsoft.com/office/officeart/2005/8/layout/process1"/>
    <dgm:cxn modelId="{242E97B2-0740-4941-9D6D-423E3621B443}" type="presParOf" srcId="{48ADBF14-1E09-4B82-94B4-E41C13E5C21F}" destId="{4474CC11-455B-4767-9888-B875339FEA3E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389B69F-22C2-44F4-AF77-A13D1990A2AB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4C16EECB-DAB6-41DE-9549-F90E915DBD7D}">
      <dgm:prSet phldrT="[Text]" phldr="0" custT="1"/>
      <dgm:spPr/>
      <dgm:t>
        <a:bodyPr/>
        <a:lstStyle/>
        <a:p>
          <a:r>
            <a:rPr lang="en-AU" sz="1600" dirty="0"/>
            <a:t>Funding fragmentation by Commonwealth</a:t>
          </a:r>
        </a:p>
      </dgm:t>
    </dgm:pt>
    <dgm:pt modelId="{C0A8059B-32BF-4D56-94A8-EDE920A24901}" type="parTrans" cxnId="{C496BDB9-8A3C-4EB5-933C-47FA2969E8D9}">
      <dgm:prSet/>
      <dgm:spPr/>
      <dgm:t>
        <a:bodyPr/>
        <a:lstStyle/>
        <a:p>
          <a:endParaRPr lang="en-AU" sz="2400"/>
        </a:p>
      </dgm:t>
    </dgm:pt>
    <dgm:pt modelId="{D3C03AF3-36CA-48CF-8010-2A73A0F40EFA}" type="sibTrans" cxnId="{C496BDB9-8A3C-4EB5-933C-47FA2969E8D9}">
      <dgm:prSet custT="1"/>
      <dgm:spPr>
        <a:solidFill>
          <a:srgbClr val="002060"/>
        </a:solidFill>
      </dgm:spPr>
      <dgm:t>
        <a:bodyPr/>
        <a:lstStyle/>
        <a:p>
          <a:endParaRPr lang="en-AU" sz="1100"/>
        </a:p>
      </dgm:t>
    </dgm:pt>
    <dgm:pt modelId="{FB5405B3-3A59-4A9E-B75A-AB7BFB81BA5A}">
      <dgm:prSet phldrT="[Text]" phldr="0" custT="1"/>
      <dgm:spPr/>
      <dgm:t>
        <a:bodyPr/>
        <a:lstStyle/>
        <a:p>
          <a:r>
            <a:rPr lang="en-AU" sz="1600" dirty="0"/>
            <a:t>Funding integration by PHN (consistent with Deeds) and funding redesign</a:t>
          </a:r>
        </a:p>
      </dgm:t>
    </dgm:pt>
    <dgm:pt modelId="{C23AEE7A-C991-4D42-A5BA-61D43CBF9EFA}" type="parTrans" cxnId="{A02D6706-AD58-4528-9731-542F0508FDB4}">
      <dgm:prSet/>
      <dgm:spPr/>
      <dgm:t>
        <a:bodyPr/>
        <a:lstStyle/>
        <a:p>
          <a:endParaRPr lang="en-AU" sz="2400"/>
        </a:p>
      </dgm:t>
    </dgm:pt>
    <dgm:pt modelId="{AD7C08F3-9536-4458-9463-D35A19024001}" type="sibTrans" cxnId="{A02D6706-AD58-4528-9731-542F0508FDB4}">
      <dgm:prSet custT="1"/>
      <dgm:spPr>
        <a:solidFill>
          <a:srgbClr val="002060"/>
        </a:solidFill>
      </dgm:spPr>
      <dgm:t>
        <a:bodyPr/>
        <a:lstStyle/>
        <a:p>
          <a:endParaRPr lang="en-AU" sz="1100"/>
        </a:p>
      </dgm:t>
    </dgm:pt>
    <dgm:pt modelId="{59C25CCB-95B6-4289-ACDC-BCDEF03A747F}">
      <dgm:prSet phldrT="[Text]" phldr="0" custT="1"/>
      <dgm:spPr/>
      <dgm:t>
        <a:bodyPr/>
        <a:lstStyle/>
        <a:p>
          <a:r>
            <a:rPr lang="en-AU" sz="1600" dirty="0"/>
            <a:t>Allocation to geographic areas </a:t>
          </a:r>
          <a:r>
            <a:rPr lang="en-AU" sz="1600" i="1" dirty="0"/>
            <a:t>(on weighted needs basis) to facilitate equity </a:t>
          </a:r>
          <a:r>
            <a:rPr lang="en-AU" sz="1600" dirty="0"/>
            <a:t>and integrated approach</a:t>
          </a:r>
        </a:p>
      </dgm:t>
    </dgm:pt>
    <dgm:pt modelId="{50D76C15-6FD6-49D3-A0CF-A9B4CF45676B}" type="parTrans" cxnId="{A25C07A2-80DF-4AA9-B114-46576F23C712}">
      <dgm:prSet/>
      <dgm:spPr/>
      <dgm:t>
        <a:bodyPr/>
        <a:lstStyle/>
        <a:p>
          <a:endParaRPr lang="en-AU" sz="2400"/>
        </a:p>
      </dgm:t>
    </dgm:pt>
    <dgm:pt modelId="{93ED4C58-B096-42B6-877E-8D8792F7F097}" type="sibTrans" cxnId="{A25C07A2-80DF-4AA9-B114-46576F23C712}">
      <dgm:prSet custT="1"/>
      <dgm:spPr>
        <a:solidFill>
          <a:srgbClr val="002060"/>
        </a:solidFill>
      </dgm:spPr>
      <dgm:t>
        <a:bodyPr/>
        <a:lstStyle/>
        <a:p>
          <a:endParaRPr lang="en-AU" sz="1100"/>
        </a:p>
      </dgm:t>
    </dgm:pt>
    <dgm:pt modelId="{63D781B6-8086-4EE8-B98D-B1647C7AE6F7}">
      <dgm:prSet phldrT="[Text]" phldr="0" custT="1"/>
      <dgm:spPr/>
      <dgm:t>
        <a:bodyPr/>
        <a:lstStyle/>
        <a:p>
          <a:r>
            <a:rPr lang="en-AU" sz="1600" dirty="0"/>
            <a:t>Delivery integration</a:t>
          </a:r>
        </a:p>
      </dgm:t>
    </dgm:pt>
    <dgm:pt modelId="{65D38BA6-C345-48E6-962B-CC80E52441CC}" type="parTrans" cxnId="{1C125F7E-4C7A-4314-A6F6-A6601BEC3622}">
      <dgm:prSet/>
      <dgm:spPr/>
      <dgm:t>
        <a:bodyPr/>
        <a:lstStyle/>
        <a:p>
          <a:endParaRPr lang="en-AU" sz="2400"/>
        </a:p>
      </dgm:t>
    </dgm:pt>
    <dgm:pt modelId="{05DCC756-8CFE-4DCA-A7F5-661618FD043A}" type="sibTrans" cxnId="{1C125F7E-4C7A-4314-A6F6-A6601BEC3622}">
      <dgm:prSet custT="1"/>
      <dgm:spPr>
        <a:solidFill>
          <a:srgbClr val="002060"/>
        </a:solidFill>
      </dgm:spPr>
      <dgm:t>
        <a:bodyPr/>
        <a:lstStyle/>
        <a:p>
          <a:endParaRPr lang="en-AU" sz="1100"/>
        </a:p>
      </dgm:t>
    </dgm:pt>
    <dgm:pt modelId="{18F31B5E-3247-4AA1-BF99-22D415345670}">
      <dgm:prSet phldrT="[Text]" phldr="0" custT="1"/>
      <dgm:spPr/>
      <dgm:t>
        <a:bodyPr/>
        <a:lstStyle/>
        <a:p>
          <a:r>
            <a:rPr lang="en-AU" sz="1600" dirty="0"/>
            <a:t>Better meet needs and increased efficiency</a:t>
          </a:r>
        </a:p>
      </dgm:t>
    </dgm:pt>
    <dgm:pt modelId="{BA43D40C-E388-4115-B2E8-0C051BD0CAE4}" type="parTrans" cxnId="{5B8BB912-0639-4DF6-B5A6-CA4F1BF6D584}">
      <dgm:prSet/>
      <dgm:spPr/>
      <dgm:t>
        <a:bodyPr/>
        <a:lstStyle/>
        <a:p>
          <a:endParaRPr lang="en-AU" sz="2400"/>
        </a:p>
      </dgm:t>
    </dgm:pt>
    <dgm:pt modelId="{63C86740-DD1E-4518-8EE7-55CD559760AB}" type="sibTrans" cxnId="{5B8BB912-0639-4DF6-B5A6-CA4F1BF6D584}">
      <dgm:prSet/>
      <dgm:spPr>
        <a:solidFill>
          <a:schemeClr val="bg1"/>
        </a:solidFill>
      </dgm:spPr>
      <dgm:t>
        <a:bodyPr/>
        <a:lstStyle/>
        <a:p>
          <a:endParaRPr lang="en-AU" sz="2400"/>
        </a:p>
      </dgm:t>
    </dgm:pt>
    <dgm:pt modelId="{00A28B1B-2C27-4EBE-81F1-8906BF1CE3EA}" type="pres">
      <dgm:prSet presAssocID="{F389B69F-22C2-44F4-AF77-A13D1990A2AB}" presName="Name0" presStyleCnt="0">
        <dgm:presLayoutVars>
          <dgm:dir/>
          <dgm:resizeHandles val="exact"/>
        </dgm:presLayoutVars>
      </dgm:prSet>
      <dgm:spPr/>
    </dgm:pt>
    <dgm:pt modelId="{31F2DE54-61EC-4688-BE5E-C8DDFB9C335A}" type="pres">
      <dgm:prSet presAssocID="{4C16EECB-DAB6-41DE-9549-F90E915DBD7D}" presName="node" presStyleLbl="node1" presStyleIdx="0" presStyleCnt="5">
        <dgm:presLayoutVars>
          <dgm:bulletEnabled val="1"/>
        </dgm:presLayoutVars>
      </dgm:prSet>
      <dgm:spPr/>
    </dgm:pt>
    <dgm:pt modelId="{D5B4AB35-043A-4864-B8F5-1A0B016D48D3}" type="pres">
      <dgm:prSet presAssocID="{D3C03AF3-36CA-48CF-8010-2A73A0F40EFA}" presName="sibTrans" presStyleLbl="sibTrans2D1" presStyleIdx="0" presStyleCnt="4"/>
      <dgm:spPr/>
    </dgm:pt>
    <dgm:pt modelId="{03D0D927-FD17-4C1D-B117-EA2D08FF98CF}" type="pres">
      <dgm:prSet presAssocID="{D3C03AF3-36CA-48CF-8010-2A73A0F40EFA}" presName="connectorText" presStyleLbl="sibTrans2D1" presStyleIdx="0" presStyleCnt="4"/>
      <dgm:spPr/>
    </dgm:pt>
    <dgm:pt modelId="{F1BB0ACB-F06C-4086-8D85-D3117D52D544}" type="pres">
      <dgm:prSet presAssocID="{FB5405B3-3A59-4A9E-B75A-AB7BFB81BA5A}" presName="node" presStyleLbl="node1" presStyleIdx="1" presStyleCnt="5">
        <dgm:presLayoutVars>
          <dgm:bulletEnabled val="1"/>
        </dgm:presLayoutVars>
      </dgm:prSet>
      <dgm:spPr/>
    </dgm:pt>
    <dgm:pt modelId="{CAD9FB12-5DEE-4AEF-991F-49FADD356EC5}" type="pres">
      <dgm:prSet presAssocID="{AD7C08F3-9536-4458-9463-D35A19024001}" presName="sibTrans" presStyleLbl="sibTrans2D1" presStyleIdx="1" presStyleCnt="4"/>
      <dgm:spPr/>
    </dgm:pt>
    <dgm:pt modelId="{79719C5C-9874-4393-A67B-D0D26965D6E9}" type="pres">
      <dgm:prSet presAssocID="{AD7C08F3-9536-4458-9463-D35A19024001}" presName="connectorText" presStyleLbl="sibTrans2D1" presStyleIdx="1" presStyleCnt="4"/>
      <dgm:spPr/>
    </dgm:pt>
    <dgm:pt modelId="{4D03D311-4A51-4B99-A4B5-5CBCB6DFDD85}" type="pres">
      <dgm:prSet presAssocID="{59C25CCB-95B6-4289-ACDC-BCDEF03A747F}" presName="node" presStyleLbl="node1" presStyleIdx="2" presStyleCnt="5">
        <dgm:presLayoutVars>
          <dgm:bulletEnabled val="1"/>
        </dgm:presLayoutVars>
      </dgm:prSet>
      <dgm:spPr/>
    </dgm:pt>
    <dgm:pt modelId="{DFB8D070-138A-409E-A1EE-4EC45301D267}" type="pres">
      <dgm:prSet presAssocID="{93ED4C58-B096-42B6-877E-8D8792F7F097}" presName="sibTrans" presStyleLbl="sibTrans2D1" presStyleIdx="2" presStyleCnt="4"/>
      <dgm:spPr/>
    </dgm:pt>
    <dgm:pt modelId="{432B8BC2-8E0F-4E22-8BD8-164E9A970715}" type="pres">
      <dgm:prSet presAssocID="{93ED4C58-B096-42B6-877E-8D8792F7F097}" presName="connectorText" presStyleLbl="sibTrans2D1" presStyleIdx="2" presStyleCnt="4"/>
      <dgm:spPr/>
    </dgm:pt>
    <dgm:pt modelId="{78D6BB4A-8704-462F-AAB8-FC3AB4A0DD26}" type="pres">
      <dgm:prSet presAssocID="{63D781B6-8086-4EE8-B98D-B1647C7AE6F7}" presName="node" presStyleLbl="node1" presStyleIdx="3" presStyleCnt="5">
        <dgm:presLayoutVars>
          <dgm:bulletEnabled val="1"/>
        </dgm:presLayoutVars>
      </dgm:prSet>
      <dgm:spPr/>
    </dgm:pt>
    <dgm:pt modelId="{FB9AB6F4-0E44-4068-8AB2-205B81229D2D}" type="pres">
      <dgm:prSet presAssocID="{05DCC756-8CFE-4DCA-A7F5-661618FD043A}" presName="sibTrans" presStyleLbl="sibTrans2D1" presStyleIdx="3" presStyleCnt="4"/>
      <dgm:spPr/>
    </dgm:pt>
    <dgm:pt modelId="{4E0334A8-E245-4B9A-9042-CC070C9D126F}" type="pres">
      <dgm:prSet presAssocID="{05DCC756-8CFE-4DCA-A7F5-661618FD043A}" presName="connectorText" presStyleLbl="sibTrans2D1" presStyleIdx="3" presStyleCnt="4"/>
      <dgm:spPr/>
    </dgm:pt>
    <dgm:pt modelId="{0913B7BF-16C6-4DED-A7C5-9F52BCA7569F}" type="pres">
      <dgm:prSet presAssocID="{18F31B5E-3247-4AA1-BF99-22D415345670}" presName="node" presStyleLbl="node1" presStyleIdx="4" presStyleCnt="5">
        <dgm:presLayoutVars>
          <dgm:bulletEnabled val="1"/>
        </dgm:presLayoutVars>
      </dgm:prSet>
      <dgm:spPr/>
    </dgm:pt>
  </dgm:ptLst>
  <dgm:cxnLst>
    <dgm:cxn modelId="{DD164A04-626F-440E-95B4-F73452E1E78D}" type="presOf" srcId="{05DCC756-8CFE-4DCA-A7F5-661618FD043A}" destId="{FB9AB6F4-0E44-4068-8AB2-205B81229D2D}" srcOrd="0" destOrd="0" presId="urn:microsoft.com/office/officeart/2005/8/layout/process1"/>
    <dgm:cxn modelId="{A02D6706-AD58-4528-9731-542F0508FDB4}" srcId="{F389B69F-22C2-44F4-AF77-A13D1990A2AB}" destId="{FB5405B3-3A59-4A9E-B75A-AB7BFB81BA5A}" srcOrd="1" destOrd="0" parTransId="{C23AEE7A-C991-4D42-A5BA-61D43CBF9EFA}" sibTransId="{AD7C08F3-9536-4458-9463-D35A19024001}"/>
    <dgm:cxn modelId="{981AE309-DEF2-479F-BB76-1506BE2125EF}" type="presOf" srcId="{AD7C08F3-9536-4458-9463-D35A19024001}" destId="{CAD9FB12-5DEE-4AEF-991F-49FADD356EC5}" srcOrd="0" destOrd="0" presId="urn:microsoft.com/office/officeart/2005/8/layout/process1"/>
    <dgm:cxn modelId="{5B8BB912-0639-4DF6-B5A6-CA4F1BF6D584}" srcId="{F389B69F-22C2-44F4-AF77-A13D1990A2AB}" destId="{18F31B5E-3247-4AA1-BF99-22D415345670}" srcOrd="4" destOrd="0" parTransId="{BA43D40C-E388-4115-B2E8-0C051BD0CAE4}" sibTransId="{63C86740-DD1E-4518-8EE7-55CD559760AB}"/>
    <dgm:cxn modelId="{4A6A331B-7F2E-4AC2-97DE-B8752EC3A125}" type="presOf" srcId="{D3C03AF3-36CA-48CF-8010-2A73A0F40EFA}" destId="{D5B4AB35-043A-4864-B8F5-1A0B016D48D3}" srcOrd="0" destOrd="0" presId="urn:microsoft.com/office/officeart/2005/8/layout/process1"/>
    <dgm:cxn modelId="{54846926-504C-4733-8E68-48ED3A834608}" type="presOf" srcId="{F389B69F-22C2-44F4-AF77-A13D1990A2AB}" destId="{00A28B1B-2C27-4EBE-81F1-8906BF1CE3EA}" srcOrd="0" destOrd="0" presId="urn:microsoft.com/office/officeart/2005/8/layout/process1"/>
    <dgm:cxn modelId="{BC21AA32-36A7-4802-AC3A-E6EC879F0EF0}" type="presOf" srcId="{63D781B6-8086-4EE8-B98D-B1647C7AE6F7}" destId="{78D6BB4A-8704-462F-AAB8-FC3AB4A0DD26}" srcOrd="0" destOrd="0" presId="urn:microsoft.com/office/officeart/2005/8/layout/process1"/>
    <dgm:cxn modelId="{008F965D-E0E1-4CD1-A6B9-35ABFFB1CEFB}" type="presOf" srcId="{93ED4C58-B096-42B6-877E-8D8792F7F097}" destId="{DFB8D070-138A-409E-A1EE-4EC45301D267}" srcOrd="0" destOrd="0" presId="urn:microsoft.com/office/officeart/2005/8/layout/process1"/>
    <dgm:cxn modelId="{3E770949-D751-4251-AB58-E5118EC24485}" type="presOf" srcId="{18F31B5E-3247-4AA1-BF99-22D415345670}" destId="{0913B7BF-16C6-4DED-A7C5-9F52BCA7569F}" srcOrd="0" destOrd="0" presId="urn:microsoft.com/office/officeart/2005/8/layout/process1"/>
    <dgm:cxn modelId="{16A0FC57-7A05-47E8-8AFF-092AB8E47101}" type="presOf" srcId="{05DCC756-8CFE-4DCA-A7F5-661618FD043A}" destId="{4E0334A8-E245-4B9A-9042-CC070C9D126F}" srcOrd="1" destOrd="0" presId="urn:microsoft.com/office/officeart/2005/8/layout/process1"/>
    <dgm:cxn modelId="{1C125F7E-4C7A-4314-A6F6-A6601BEC3622}" srcId="{F389B69F-22C2-44F4-AF77-A13D1990A2AB}" destId="{63D781B6-8086-4EE8-B98D-B1647C7AE6F7}" srcOrd="3" destOrd="0" parTransId="{65D38BA6-C345-48E6-962B-CC80E52441CC}" sibTransId="{05DCC756-8CFE-4DCA-A7F5-661618FD043A}"/>
    <dgm:cxn modelId="{24412A80-3C39-4B4A-BAEB-3E383FD857EF}" type="presOf" srcId="{AD7C08F3-9536-4458-9463-D35A19024001}" destId="{79719C5C-9874-4393-A67B-D0D26965D6E9}" srcOrd="1" destOrd="0" presId="urn:microsoft.com/office/officeart/2005/8/layout/process1"/>
    <dgm:cxn modelId="{CAC90E90-2F2D-417D-95ED-0CB8F8181976}" type="presOf" srcId="{FB5405B3-3A59-4A9E-B75A-AB7BFB81BA5A}" destId="{F1BB0ACB-F06C-4086-8D85-D3117D52D544}" srcOrd="0" destOrd="0" presId="urn:microsoft.com/office/officeart/2005/8/layout/process1"/>
    <dgm:cxn modelId="{A25C07A2-80DF-4AA9-B114-46576F23C712}" srcId="{F389B69F-22C2-44F4-AF77-A13D1990A2AB}" destId="{59C25CCB-95B6-4289-ACDC-BCDEF03A747F}" srcOrd="2" destOrd="0" parTransId="{50D76C15-6FD6-49D3-A0CF-A9B4CF45676B}" sibTransId="{93ED4C58-B096-42B6-877E-8D8792F7F097}"/>
    <dgm:cxn modelId="{78717AAA-7AE5-4145-9003-CAFCDB9C1A82}" type="presOf" srcId="{4C16EECB-DAB6-41DE-9549-F90E915DBD7D}" destId="{31F2DE54-61EC-4688-BE5E-C8DDFB9C335A}" srcOrd="0" destOrd="0" presId="urn:microsoft.com/office/officeart/2005/8/layout/process1"/>
    <dgm:cxn modelId="{C496BDB9-8A3C-4EB5-933C-47FA2969E8D9}" srcId="{F389B69F-22C2-44F4-AF77-A13D1990A2AB}" destId="{4C16EECB-DAB6-41DE-9549-F90E915DBD7D}" srcOrd="0" destOrd="0" parTransId="{C0A8059B-32BF-4D56-94A8-EDE920A24901}" sibTransId="{D3C03AF3-36CA-48CF-8010-2A73A0F40EFA}"/>
    <dgm:cxn modelId="{C34EFEC3-D04C-493C-9EDB-C1E271DE8E5E}" type="presOf" srcId="{59C25CCB-95B6-4289-ACDC-BCDEF03A747F}" destId="{4D03D311-4A51-4B99-A4B5-5CBCB6DFDD85}" srcOrd="0" destOrd="0" presId="urn:microsoft.com/office/officeart/2005/8/layout/process1"/>
    <dgm:cxn modelId="{1A290AF4-ADC6-4DA7-A63A-F3821CFCC4FA}" type="presOf" srcId="{D3C03AF3-36CA-48CF-8010-2A73A0F40EFA}" destId="{03D0D927-FD17-4C1D-B117-EA2D08FF98CF}" srcOrd="1" destOrd="0" presId="urn:microsoft.com/office/officeart/2005/8/layout/process1"/>
    <dgm:cxn modelId="{C2C8DBF5-C864-4346-9C64-19B707D8F929}" type="presOf" srcId="{93ED4C58-B096-42B6-877E-8D8792F7F097}" destId="{432B8BC2-8E0F-4E22-8BD8-164E9A970715}" srcOrd="1" destOrd="0" presId="urn:microsoft.com/office/officeart/2005/8/layout/process1"/>
    <dgm:cxn modelId="{736635B9-CC84-416D-BF0C-A66A6122D7C0}" type="presParOf" srcId="{00A28B1B-2C27-4EBE-81F1-8906BF1CE3EA}" destId="{31F2DE54-61EC-4688-BE5E-C8DDFB9C335A}" srcOrd="0" destOrd="0" presId="urn:microsoft.com/office/officeart/2005/8/layout/process1"/>
    <dgm:cxn modelId="{BC976FD1-87C6-4EDF-B963-1FCDA9E04B66}" type="presParOf" srcId="{00A28B1B-2C27-4EBE-81F1-8906BF1CE3EA}" destId="{D5B4AB35-043A-4864-B8F5-1A0B016D48D3}" srcOrd="1" destOrd="0" presId="urn:microsoft.com/office/officeart/2005/8/layout/process1"/>
    <dgm:cxn modelId="{2B6E9955-15BA-4510-8C00-FD4792BC8FA2}" type="presParOf" srcId="{D5B4AB35-043A-4864-B8F5-1A0B016D48D3}" destId="{03D0D927-FD17-4C1D-B117-EA2D08FF98CF}" srcOrd="0" destOrd="0" presId="urn:microsoft.com/office/officeart/2005/8/layout/process1"/>
    <dgm:cxn modelId="{1262661E-A963-4EA8-AC64-45BB189AC76E}" type="presParOf" srcId="{00A28B1B-2C27-4EBE-81F1-8906BF1CE3EA}" destId="{F1BB0ACB-F06C-4086-8D85-D3117D52D544}" srcOrd="2" destOrd="0" presId="urn:microsoft.com/office/officeart/2005/8/layout/process1"/>
    <dgm:cxn modelId="{5DBE2514-3A31-4C8C-A6D5-24028EB41919}" type="presParOf" srcId="{00A28B1B-2C27-4EBE-81F1-8906BF1CE3EA}" destId="{CAD9FB12-5DEE-4AEF-991F-49FADD356EC5}" srcOrd="3" destOrd="0" presId="urn:microsoft.com/office/officeart/2005/8/layout/process1"/>
    <dgm:cxn modelId="{5859E6B3-0C43-40F2-B48D-09CE7413B8F4}" type="presParOf" srcId="{CAD9FB12-5DEE-4AEF-991F-49FADD356EC5}" destId="{79719C5C-9874-4393-A67B-D0D26965D6E9}" srcOrd="0" destOrd="0" presId="urn:microsoft.com/office/officeart/2005/8/layout/process1"/>
    <dgm:cxn modelId="{6F0B6AC6-B3D7-4E98-9411-3DB1516BA8CC}" type="presParOf" srcId="{00A28B1B-2C27-4EBE-81F1-8906BF1CE3EA}" destId="{4D03D311-4A51-4B99-A4B5-5CBCB6DFDD85}" srcOrd="4" destOrd="0" presId="urn:microsoft.com/office/officeart/2005/8/layout/process1"/>
    <dgm:cxn modelId="{4E5CF5E8-7C7D-4C32-986C-D8EEB744C183}" type="presParOf" srcId="{00A28B1B-2C27-4EBE-81F1-8906BF1CE3EA}" destId="{DFB8D070-138A-409E-A1EE-4EC45301D267}" srcOrd="5" destOrd="0" presId="urn:microsoft.com/office/officeart/2005/8/layout/process1"/>
    <dgm:cxn modelId="{072C669A-8E1D-43CA-B0F9-82074085E748}" type="presParOf" srcId="{DFB8D070-138A-409E-A1EE-4EC45301D267}" destId="{432B8BC2-8E0F-4E22-8BD8-164E9A970715}" srcOrd="0" destOrd="0" presId="urn:microsoft.com/office/officeart/2005/8/layout/process1"/>
    <dgm:cxn modelId="{871498E4-EEED-4FBB-AE41-C1004D066BF9}" type="presParOf" srcId="{00A28B1B-2C27-4EBE-81F1-8906BF1CE3EA}" destId="{78D6BB4A-8704-462F-AAB8-FC3AB4A0DD26}" srcOrd="6" destOrd="0" presId="urn:microsoft.com/office/officeart/2005/8/layout/process1"/>
    <dgm:cxn modelId="{C6C4664C-B89D-4213-82C5-B13930795C4D}" type="presParOf" srcId="{00A28B1B-2C27-4EBE-81F1-8906BF1CE3EA}" destId="{FB9AB6F4-0E44-4068-8AB2-205B81229D2D}" srcOrd="7" destOrd="0" presId="urn:microsoft.com/office/officeart/2005/8/layout/process1"/>
    <dgm:cxn modelId="{4303C0D8-A232-4B1E-8ACC-BE89662DE603}" type="presParOf" srcId="{FB9AB6F4-0E44-4068-8AB2-205B81229D2D}" destId="{4E0334A8-E245-4B9A-9042-CC070C9D126F}" srcOrd="0" destOrd="0" presId="urn:microsoft.com/office/officeart/2005/8/layout/process1"/>
    <dgm:cxn modelId="{41AE8715-DE39-4C22-889A-85E5A1C2DF18}" type="presParOf" srcId="{00A28B1B-2C27-4EBE-81F1-8906BF1CE3EA}" destId="{0913B7BF-16C6-4DED-A7C5-9F52BCA7569F}" srcOrd="8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8F6C5F-CC72-44D4-AFAC-80FDDB6DC295}">
      <dsp:nvSpPr>
        <dsp:cNvPr id="0" name=""/>
        <dsp:cNvSpPr/>
      </dsp:nvSpPr>
      <dsp:spPr>
        <a:xfrm>
          <a:off x="855" y="3232147"/>
          <a:ext cx="7453999" cy="148361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3400" kern="1200" dirty="0"/>
            <a:t>Primary care</a:t>
          </a:r>
        </a:p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3400" kern="1200" dirty="0"/>
            <a:t>(low intensity, Mental Health Check In)</a:t>
          </a:r>
        </a:p>
      </dsp:txBody>
      <dsp:txXfrm>
        <a:off x="44309" y="3275601"/>
        <a:ext cx="7367091" cy="1396711"/>
      </dsp:txXfrm>
    </dsp:sp>
    <dsp:sp modelId="{4379F923-A074-459B-A914-1091DE85FC6A}">
      <dsp:nvSpPr>
        <dsp:cNvPr id="0" name=""/>
        <dsp:cNvSpPr/>
      </dsp:nvSpPr>
      <dsp:spPr>
        <a:xfrm>
          <a:off x="855" y="1617237"/>
          <a:ext cx="4869183" cy="148361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3200" kern="1200" dirty="0"/>
            <a:t>Mixed middle:</a:t>
          </a:r>
        </a:p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000" kern="1200" dirty="0"/>
            <a:t>Some community mental health, lots of private (GPs, psychologists, psychiatrists), NDIS</a:t>
          </a:r>
        </a:p>
      </dsp:txBody>
      <dsp:txXfrm>
        <a:off x="44309" y="1660691"/>
        <a:ext cx="4782275" cy="1396711"/>
      </dsp:txXfrm>
    </dsp:sp>
    <dsp:sp modelId="{F2804927-8A0C-4064-946F-ADBD7610564E}">
      <dsp:nvSpPr>
        <dsp:cNvPr id="0" name=""/>
        <dsp:cNvSpPr/>
      </dsp:nvSpPr>
      <dsp:spPr>
        <a:xfrm>
          <a:off x="855" y="2327"/>
          <a:ext cx="2384516" cy="148361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3200" kern="1200" dirty="0"/>
            <a:t>NDIS</a:t>
          </a:r>
        </a:p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800" kern="1200" dirty="0"/>
            <a:t>(individualised, privatised)</a:t>
          </a:r>
        </a:p>
      </dsp:txBody>
      <dsp:txXfrm>
        <a:off x="44309" y="45781"/>
        <a:ext cx="2297608" cy="1396711"/>
      </dsp:txXfrm>
    </dsp:sp>
    <dsp:sp modelId="{E21A581F-FAEE-4937-A772-E5E8732AEF1F}">
      <dsp:nvSpPr>
        <dsp:cNvPr id="0" name=""/>
        <dsp:cNvSpPr/>
      </dsp:nvSpPr>
      <dsp:spPr>
        <a:xfrm>
          <a:off x="2485522" y="2327"/>
          <a:ext cx="2384516" cy="148361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500" kern="1200" dirty="0"/>
            <a:t>Public hospital</a:t>
          </a:r>
        </a:p>
      </dsp:txBody>
      <dsp:txXfrm>
        <a:off x="2528976" y="45781"/>
        <a:ext cx="2297608" cy="1396711"/>
      </dsp:txXfrm>
    </dsp:sp>
    <dsp:sp modelId="{A1D22A0D-F3E7-4395-8E25-E1B9C4C0ACCC}">
      <dsp:nvSpPr>
        <dsp:cNvPr id="0" name=""/>
        <dsp:cNvSpPr/>
      </dsp:nvSpPr>
      <dsp:spPr>
        <a:xfrm>
          <a:off x="5070338" y="1617237"/>
          <a:ext cx="2384516" cy="148361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500" kern="1200" dirty="0"/>
            <a:t>PHNs</a:t>
          </a:r>
        </a:p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500" kern="1200" dirty="0"/>
            <a:t>(</a:t>
          </a:r>
          <a:r>
            <a:rPr lang="en-AU" sz="2500" kern="1200" dirty="0" err="1"/>
            <a:t>inc</a:t>
          </a:r>
          <a:r>
            <a:rPr lang="en-AU" sz="2500" kern="1200" dirty="0"/>
            <a:t> Medicare Mental Health)</a:t>
          </a:r>
        </a:p>
      </dsp:txBody>
      <dsp:txXfrm>
        <a:off x="5113792" y="1660691"/>
        <a:ext cx="2297608" cy="1396711"/>
      </dsp:txXfrm>
    </dsp:sp>
    <dsp:sp modelId="{225C248E-6C8A-460E-A2ED-94E545ECEFBE}">
      <dsp:nvSpPr>
        <dsp:cNvPr id="0" name=""/>
        <dsp:cNvSpPr/>
      </dsp:nvSpPr>
      <dsp:spPr>
        <a:xfrm>
          <a:off x="5070338" y="2327"/>
          <a:ext cx="2384516" cy="148361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500" kern="1200" dirty="0"/>
            <a:t>Private specialists, hospitals</a:t>
          </a:r>
        </a:p>
      </dsp:txBody>
      <dsp:txXfrm>
        <a:off x="5113792" y="45781"/>
        <a:ext cx="2297608" cy="139671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23AAC4-9FE2-419C-A162-15250B19168A}">
      <dsp:nvSpPr>
        <dsp:cNvPr id="0" name=""/>
        <dsp:cNvSpPr/>
      </dsp:nvSpPr>
      <dsp:spPr>
        <a:xfrm>
          <a:off x="2151152" y="0"/>
          <a:ext cx="2151152" cy="1434101"/>
        </a:xfrm>
        <a:prstGeom prst="trapezoid">
          <a:avLst>
            <a:gd name="adj" fmla="val 75000"/>
          </a:avLst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en-AU" sz="2000" b="1" kern="1200">
              <a:solidFill>
                <a:schemeClr val="bg1"/>
              </a:solidFill>
              <a:latin typeface="Karla" pitchFamily="2" charset="0"/>
              <a:ea typeface="Karla" pitchFamily="2" charset="0"/>
            </a:rPr>
          </a:br>
          <a:br>
            <a:rPr lang="en-AU" sz="2000" b="1" kern="1200">
              <a:solidFill>
                <a:schemeClr val="bg1"/>
              </a:solidFill>
              <a:latin typeface="Karla" pitchFamily="2" charset="0"/>
              <a:ea typeface="Karla" pitchFamily="2" charset="0"/>
            </a:rPr>
          </a:br>
          <a:r>
            <a:rPr lang="en-AU" sz="2000" b="1" kern="1200">
              <a:solidFill>
                <a:schemeClr val="bg1"/>
              </a:solidFill>
              <a:latin typeface="Karla" pitchFamily="2" charset="0"/>
              <a:ea typeface="Karla" pitchFamily="2" charset="0"/>
            </a:rPr>
            <a:t>Payment         KPIs</a:t>
          </a:r>
        </a:p>
      </dsp:txBody>
      <dsp:txXfrm>
        <a:off x="2151152" y="0"/>
        <a:ext cx="2151152" cy="1434101"/>
      </dsp:txXfrm>
    </dsp:sp>
    <dsp:sp modelId="{EB91A540-132E-4B01-848F-D34075B641FE}">
      <dsp:nvSpPr>
        <dsp:cNvPr id="0" name=""/>
        <dsp:cNvSpPr/>
      </dsp:nvSpPr>
      <dsp:spPr>
        <a:xfrm>
          <a:off x="1075576" y="1434101"/>
          <a:ext cx="4302304" cy="1434101"/>
        </a:xfrm>
        <a:prstGeom prst="trapezoid">
          <a:avLst>
            <a:gd name="adj" fmla="val 7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</a:pPr>
          <a:r>
            <a:rPr kumimoji="0" lang="en-AU" sz="2000" b="1" i="0" u="none" strike="noStrike" kern="1200" cap="none" spc="0" normalizeH="0" baseline="0" noProof="0">
              <a:ln/>
              <a:solidFill>
                <a:schemeClr val="bg1"/>
              </a:solidFill>
              <a:effectLst/>
              <a:uLnTx/>
              <a:uFillTx/>
              <a:latin typeface="Karla" pitchFamily="2" charset="0"/>
              <a:ea typeface="+mn-ea"/>
              <a:cs typeface="+mn-cs"/>
            </a:rPr>
            <a:t>Key Performance Indicators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en-AU" sz="2000" b="1" i="0" u="none" strike="noStrike" kern="1200" cap="none" spc="0" normalizeH="0" baseline="0" noProof="0">
              <a:ln/>
              <a:solidFill>
                <a:schemeClr val="bg1"/>
              </a:solidFill>
              <a:effectLst/>
              <a:uLnTx/>
              <a:uFillTx/>
              <a:latin typeface="Karla" pitchFamily="2" charset="0"/>
              <a:ea typeface="+mn-ea"/>
              <a:cs typeface="+mn-cs"/>
            </a:rPr>
            <a:t>(&amp; Deliverables) </a:t>
          </a:r>
          <a:endParaRPr lang="en-AU" sz="2000" kern="1200">
            <a:solidFill>
              <a:schemeClr val="bg1"/>
            </a:solidFill>
          </a:endParaRPr>
        </a:p>
      </dsp:txBody>
      <dsp:txXfrm>
        <a:off x="1828479" y="1434101"/>
        <a:ext cx="2796498" cy="1434101"/>
      </dsp:txXfrm>
    </dsp:sp>
    <dsp:sp modelId="{9AE83908-AB65-45A5-9818-9EC72301FCF7}">
      <dsp:nvSpPr>
        <dsp:cNvPr id="0" name=""/>
        <dsp:cNvSpPr/>
      </dsp:nvSpPr>
      <dsp:spPr>
        <a:xfrm>
          <a:off x="0" y="2868202"/>
          <a:ext cx="6453457" cy="1434101"/>
        </a:xfrm>
        <a:prstGeom prst="trapezoid">
          <a:avLst>
            <a:gd name="adj" fmla="val 7500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en-AU" sz="2000" b="1" kern="1200">
              <a:solidFill>
                <a:schemeClr val="bg1"/>
              </a:solidFill>
              <a:latin typeface="Karla" pitchFamily="2" charset="0"/>
            </a:rPr>
            <a:t>Data requirements</a:t>
          </a:r>
          <a:endParaRPr lang="en-AU" sz="2000" kern="1200">
            <a:solidFill>
              <a:schemeClr val="bg1"/>
            </a:solidFill>
          </a:endParaRPr>
        </a:p>
      </dsp:txBody>
      <dsp:txXfrm>
        <a:off x="1129354" y="2868202"/>
        <a:ext cx="4194747" cy="143410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8B72AAA-32D8-464D-879A-FE7A51A2ABEA}">
      <dsp:nvSpPr>
        <dsp:cNvPr id="0" name=""/>
        <dsp:cNvSpPr/>
      </dsp:nvSpPr>
      <dsp:spPr>
        <a:xfrm>
          <a:off x="3601" y="1450057"/>
          <a:ext cx="1574824" cy="11220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600" kern="1200" dirty="0"/>
            <a:t>Funding fragmentation from Commonwealth</a:t>
          </a:r>
        </a:p>
      </dsp:txBody>
      <dsp:txXfrm>
        <a:off x="36465" y="1482921"/>
        <a:ext cx="1509096" cy="1056334"/>
      </dsp:txXfrm>
    </dsp:sp>
    <dsp:sp modelId="{A6B521D5-D062-4F3B-B14F-4493643EF018}">
      <dsp:nvSpPr>
        <dsp:cNvPr id="0" name=""/>
        <dsp:cNvSpPr/>
      </dsp:nvSpPr>
      <dsp:spPr>
        <a:xfrm>
          <a:off x="1735908" y="1815810"/>
          <a:ext cx="333862" cy="39055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1100" kern="1200"/>
        </a:p>
      </dsp:txBody>
      <dsp:txXfrm>
        <a:off x="1735908" y="1893921"/>
        <a:ext cx="233703" cy="234334"/>
      </dsp:txXfrm>
    </dsp:sp>
    <dsp:sp modelId="{3B3F94BD-462D-4172-81BE-A820312CD051}">
      <dsp:nvSpPr>
        <dsp:cNvPr id="0" name=""/>
        <dsp:cNvSpPr/>
      </dsp:nvSpPr>
      <dsp:spPr>
        <a:xfrm>
          <a:off x="2208355" y="1450057"/>
          <a:ext cx="1574824" cy="11220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600" kern="1200"/>
            <a:t>Funding fragmentation by PHN</a:t>
          </a:r>
          <a:endParaRPr lang="en-AU" sz="1600" kern="1200" dirty="0"/>
        </a:p>
      </dsp:txBody>
      <dsp:txXfrm>
        <a:off x="2241219" y="1482921"/>
        <a:ext cx="1509096" cy="1056334"/>
      </dsp:txXfrm>
    </dsp:sp>
    <dsp:sp modelId="{1DD475A2-0829-4390-BA81-73697276C5E6}">
      <dsp:nvSpPr>
        <dsp:cNvPr id="0" name=""/>
        <dsp:cNvSpPr/>
      </dsp:nvSpPr>
      <dsp:spPr>
        <a:xfrm>
          <a:off x="3940662" y="1815810"/>
          <a:ext cx="333862" cy="39055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1100" kern="1200"/>
        </a:p>
      </dsp:txBody>
      <dsp:txXfrm>
        <a:off x="3940662" y="1893921"/>
        <a:ext cx="233703" cy="234334"/>
      </dsp:txXfrm>
    </dsp:sp>
    <dsp:sp modelId="{C7163F8B-3916-4B48-8DB2-6316FB0C4B79}">
      <dsp:nvSpPr>
        <dsp:cNvPr id="0" name=""/>
        <dsp:cNvSpPr/>
      </dsp:nvSpPr>
      <dsp:spPr>
        <a:xfrm>
          <a:off x="4413109" y="1450057"/>
          <a:ext cx="1574824" cy="11220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600" kern="1200" dirty="0"/>
            <a:t>Delivery fragmentation</a:t>
          </a:r>
        </a:p>
      </dsp:txBody>
      <dsp:txXfrm>
        <a:off x="4445973" y="1482921"/>
        <a:ext cx="1509096" cy="1056334"/>
      </dsp:txXfrm>
    </dsp:sp>
    <dsp:sp modelId="{45AA73EC-56DF-46C9-8DB7-8181D522BF4F}">
      <dsp:nvSpPr>
        <dsp:cNvPr id="0" name=""/>
        <dsp:cNvSpPr/>
      </dsp:nvSpPr>
      <dsp:spPr>
        <a:xfrm>
          <a:off x="6145416" y="1815810"/>
          <a:ext cx="333862" cy="39055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1100" kern="1200"/>
        </a:p>
      </dsp:txBody>
      <dsp:txXfrm>
        <a:off x="6145416" y="1893921"/>
        <a:ext cx="233703" cy="234334"/>
      </dsp:txXfrm>
    </dsp:sp>
    <dsp:sp modelId="{4474CC11-455B-4767-9888-B875339FEA3E}">
      <dsp:nvSpPr>
        <dsp:cNvPr id="0" name=""/>
        <dsp:cNvSpPr/>
      </dsp:nvSpPr>
      <dsp:spPr>
        <a:xfrm>
          <a:off x="6617863" y="1450057"/>
          <a:ext cx="1574824" cy="11220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600" kern="1200" dirty="0"/>
            <a:t>Potential failure to meet needs and inefficiency in delivery </a:t>
          </a:r>
        </a:p>
      </dsp:txBody>
      <dsp:txXfrm>
        <a:off x="6650727" y="1482921"/>
        <a:ext cx="1509096" cy="105633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1F2DE54-61EC-4688-BE5E-C8DDFB9C335A}">
      <dsp:nvSpPr>
        <dsp:cNvPr id="0" name=""/>
        <dsp:cNvSpPr/>
      </dsp:nvSpPr>
      <dsp:spPr>
        <a:xfrm>
          <a:off x="5066" y="1700394"/>
          <a:ext cx="1570739" cy="201787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600" kern="1200" dirty="0"/>
            <a:t>Funding fragmentation by Commonwealth</a:t>
          </a:r>
        </a:p>
      </dsp:txBody>
      <dsp:txXfrm>
        <a:off x="51071" y="1746399"/>
        <a:ext cx="1478729" cy="1925868"/>
      </dsp:txXfrm>
    </dsp:sp>
    <dsp:sp modelId="{D5B4AB35-043A-4864-B8F5-1A0B016D48D3}">
      <dsp:nvSpPr>
        <dsp:cNvPr id="0" name=""/>
        <dsp:cNvSpPr/>
      </dsp:nvSpPr>
      <dsp:spPr>
        <a:xfrm>
          <a:off x="1732880" y="2514561"/>
          <a:ext cx="332996" cy="389543"/>
        </a:xfrm>
        <a:prstGeom prst="rightArrow">
          <a:avLst>
            <a:gd name="adj1" fmla="val 60000"/>
            <a:gd name="adj2" fmla="val 50000"/>
          </a:avLst>
        </a:prstGeom>
        <a:solidFill>
          <a:srgbClr val="00206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1100" kern="1200"/>
        </a:p>
      </dsp:txBody>
      <dsp:txXfrm>
        <a:off x="1732880" y="2592470"/>
        <a:ext cx="233097" cy="233725"/>
      </dsp:txXfrm>
    </dsp:sp>
    <dsp:sp modelId="{F1BB0ACB-F06C-4086-8D85-D3117D52D544}">
      <dsp:nvSpPr>
        <dsp:cNvPr id="0" name=""/>
        <dsp:cNvSpPr/>
      </dsp:nvSpPr>
      <dsp:spPr>
        <a:xfrm>
          <a:off x="2204101" y="1700394"/>
          <a:ext cx="1570739" cy="201787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600" kern="1200" dirty="0"/>
            <a:t>Funding integration by PHN (consistent with Deeds) and funding redesign</a:t>
          </a:r>
        </a:p>
      </dsp:txBody>
      <dsp:txXfrm>
        <a:off x="2250106" y="1746399"/>
        <a:ext cx="1478729" cy="1925868"/>
      </dsp:txXfrm>
    </dsp:sp>
    <dsp:sp modelId="{CAD9FB12-5DEE-4AEF-991F-49FADD356EC5}">
      <dsp:nvSpPr>
        <dsp:cNvPr id="0" name=""/>
        <dsp:cNvSpPr/>
      </dsp:nvSpPr>
      <dsp:spPr>
        <a:xfrm>
          <a:off x="3931915" y="2514561"/>
          <a:ext cx="332996" cy="389543"/>
        </a:xfrm>
        <a:prstGeom prst="rightArrow">
          <a:avLst>
            <a:gd name="adj1" fmla="val 60000"/>
            <a:gd name="adj2" fmla="val 50000"/>
          </a:avLst>
        </a:prstGeom>
        <a:solidFill>
          <a:srgbClr val="00206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1100" kern="1200"/>
        </a:p>
      </dsp:txBody>
      <dsp:txXfrm>
        <a:off x="3931915" y="2592470"/>
        <a:ext cx="233097" cy="233725"/>
      </dsp:txXfrm>
    </dsp:sp>
    <dsp:sp modelId="{4D03D311-4A51-4B99-A4B5-5CBCB6DFDD85}">
      <dsp:nvSpPr>
        <dsp:cNvPr id="0" name=""/>
        <dsp:cNvSpPr/>
      </dsp:nvSpPr>
      <dsp:spPr>
        <a:xfrm>
          <a:off x="4403136" y="1700394"/>
          <a:ext cx="1570739" cy="201787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600" kern="1200" dirty="0"/>
            <a:t>Allocation to geographic areas </a:t>
          </a:r>
          <a:r>
            <a:rPr lang="en-AU" sz="1600" i="1" kern="1200" dirty="0"/>
            <a:t>(on weighted needs basis) to facilitate equity </a:t>
          </a:r>
          <a:r>
            <a:rPr lang="en-AU" sz="1600" kern="1200" dirty="0"/>
            <a:t>and integrated approach</a:t>
          </a:r>
        </a:p>
      </dsp:txBody>
      <dsp:txXfrm>
        <a:off x="4449141" y="1746399"/>
        <a:ext cx="1478729" cy="1925868"/>
      </dsp:txXfrm>
    </dsp:sp>
    <dsp:sp modelId="{DFB8D070-138A-409E-A1EE-4EC45301D267}">
      <dsp:nvSpPr>
        <dsp:cNvPr id="0" name=""/>
        <dsp:cNvSpPr/>
      </dsp:nvSpPr>
      <dsp:spPr>
        <a:xfrm>
          <a:off x="6130950" y="2514561"/>
          <a:ext cx="332996" cy="389543"/>
        </a:xfrm>
        <a:prstGeom prst="rightArrow">
          <a:avLst>
            <a:gd name="adj1" fmla="val 60000"/>
            <a:gd name="adj2" fmla="val 50000"/>
          </a:avLst>
        </a:prstGeom>
        <a:solidFill>
          <a:srgbClr val="00206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1100" kern="1200"/>
        </a:p>
      </dsp:txBody>
      <dsp:txXfrm>
        <a:off x="6130950" y="2592470"/>
        <a:ext cx="233097" cy="233725"/>
      </dsp:txXfrm>
    </dsp:sp>
    <dsp:sp modelId="{78D6BB4A-8704-462F-AAB8-FC3AB4A0DD26}">
      <dsp:nvSpPr>
        <dsp:cNvPr id="0" name=""/>
        <dsp:cNvSpPr/>
      </dsp:nvSpPr>
      <dsp:spPr>
        <a:xfrm>
          <a:off x="6602171" y="1700394"/>
          <a:ext cx="1570739" cy="201787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600" kern="1200" dirty="0"/>
            <a:t>Delivery integration</a:t>
          </a:r>
        </a:p>
      </dsp:txBody>
      <dsp:txXfrm>
        <a:off x="6648176" y="1746399"/>
        <a:ext cx="1478729" cy="1925868"/>
      </dsp:txXfrm>
    </dsp:sp>
    <dsp:sp modelId="{FB9AB6F4-0E44-4068-8AB2-205B81229D2D}">
      <dsp:nvSpPr>
        <dsp:cNvPr id="0" name=""/>
        <dsp:cNvSpPr/>
      </dsp:nvSpPr>
      <dsp:spPr>
        <a:xfrm>
          <a:off x="8329985" y="2514561"/>
          <a:ext cx="332996" cy="389543"/>
        </a:xfrm>
        <a:prstGeom prst="rightArrow">
          <a:avLst>
            <a:gd name="adj1" fmla="val 60000"/>
            <a:gd name="adj2" fmla="val 50000"/>
          </a:avLst>
        </a:prstGeom>
        <a:solidFill>
          <a:srgbClr val="00206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1100" kern="1200"/>
        </a:p>
      </dsp:txBody>
      <dsp:txXfrm>
        <a:off x="8329985" y="2592470"/>
        <a:ext cx="233097" cy="233725"/>
      </dsp:txXfrm>
    </dsp:sp>
    <dsp:sp modelId="{0913B7BF-16C6-4DED-A7C5-9F52BCA7569F}">
      <dsp:nvSpPr>
        <dsp:cNvPr id="0" name=""/>
        <dsp:cNvSpPr/>
      </dsp:nvSpPr>
      <dsp:spPr>
        <a:xfrm>
          <a:off x="8801206" y="1700394"/>
          <a:ext cx="1570739" cy="201787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600" kern="1200" dirty="0"/>
            <a:t>Better meet needs and increased efficiency</a:t>
          </a:r>
        </a:p>
      </dsp:txBody>
      <dsp:txXfrm>
        <a:off x="8847211" y="1746399"/>
        <a:ext cx="1478729" cy="19258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chitecture">
  <dgm:title val="Architecture Layout"/>
  <dgm:desc val="Use to show hierarchical relationships that build from the bottom up. This layout works well for showing architectural components or objects that build on other objects."/>
  <dgm:catLst>
    <dgm:cat type="hierarchy" pri="4500"/>
    <dgm:cat type="list" pri="24500"/>
    <dgm:cat type="relationship" pri="10500"/>
    <dgm:cat type="officeonline" pri="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b"/>
        </dgm:alg>
      </dgm:if>
      <dgm:else name="Name3">
        <dgm:alg type="lin">
          <dgm:param type="linDir" val="fromR"/>
          <dgm:param type="nodeVertAlign" val="b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B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b"/>
              </dgm:alg>
            </dgm:if>
            <dgm:else name="Name10">
              <dgm:alg type="lin">
                <dgm:param type="linDir" val="fromR"/>
                <dgm:param type="nodeVertAlign" val="b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B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b"/>
                    </dgm:alg>
                  </dgm:if>
                  <dgm:else name="Name17">
                    <dgm:alg type="lin">
                      <dgm:param type="linDir" val="fromR"/>
                      <dgm:param type="nodeVertAlign" val="b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B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b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b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B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b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b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7723" cy="49845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3141" y="0"/>
            <a:ext cx="2947723" cy="49845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099A2C-C370-4530-BF33-47C3AB493243}" type="datetimeFigureOut">
              <a:rPr lang="en-AU" smtClean="0"/>
              <a:t>14/05/2026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94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244" y="4781014"/>
            <a:ext cx="5441950" cy="39117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6123"/>
            <a:ext cx="2947723" cy="4984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3141" y="9436123"/>
            <a:ext cx="2947723" cy="4984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E4B725-2203-4ED2-9256-A661C18EFA6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93265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B2EC04-E6DC-9783-49C2-B911D9EB1F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CE985F8-D78C-F6DF-6C07-01A3C67EC9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BA6BE57-72DF-36DA-2211-FC6EF9BA34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>
                <a:latin typeface="Karla"/>
              </a:rPr>
              <a:t>Purpose: Describe how payment structure works in relation to KPIs. </a:t>
            </a:r>
            <a:endParaRPr lang="en-AU"/>
          </a:p>
          <a:p>
            <a:endParaRPr lang="en-AU"/>
          </a:p>
          <a:p>
            <a:r>
              <a:rPr lang="en-AU">
                <a:latin typeface="Karla"/>
              </a:rPr>
              <a:t>Talking Points:</a:t>
            </a:r>
            <a:endParaRPr lang="en-AU"/>
          </a:p>
          <a:p>
            <a:pPr marL="171450" indent="-171450">
              <a:buFont typeface="Calibri"/>
              <a:buChar char="-"/>
            </a:pPr>
            <a:r>
              <a:rPr lang="en-AU">
                <a:latin typeface="Karla"/>
              </a:rPr>
              <a:t>Tiered payment model with a small set of KPIs and a broader Data specification directly operationalises outcomes-linked commissioning. I.e. Gives providers line-of-sight from KPIs to payment.</a:t>
            </a:r>
            <a:endParaRPr lang="en-AU"/>
          </a:p>
          <a:p>
            <a:pPr marL="1085850" lvl="1" indent="-171450">
              <a:buFont typeface="Courier New"/>
              <a:buChar char="o"/>
            </a:pPr>
            <a:r>
              <a:rPr lang="en-AU">
                <a:latin typeface="Karla"/>
              </a:rPr>
              <a:t>Common KPIs, </a:t>
            </a:r>
          </a:p>
          <a:p>
            <a:pPr marL="1085850" lvl="1" indent="-171450">
              <a:buFont typeface="Courier New"/>
              <a:buChar char="o"/>
            </a:pPr>
            <a:r>
              <a:rPr lang="en-AU">
                <a:latin typeface="Karla"/>
              </a:rPr>
              <a:t>Unified Data model </a:t>
            </a:r>
          </a:p>
          <a:p>
            <a:pPr marL="1085850" lvl="1" indent="-171450">
              <a:buFont typeface="Courier New"/>
              <a:buChar char="o"/>
            </a:pPr>
            <a:r>
              <a:rPr lang="en-AU">
                <a:latin typeface="Karla"/>
              </a:rPr>
              <a:t>Standardised contract management </a:t>
            </a:r>
          </a:p>
          <a:p>
            <a:pPr marL="171450" indent="-171450">
              <a:buFont typeface="Calibri"/>
              <a:buChar char="-"/>
            </a:pPr>
            <a:r>
              <a:rPr lang="en-AU">
                <a:latin typeface="Karla"/>
              </a:rPr>
              <a:t>Aligns with the national plan to rebalance incentives from volume to value. </a:t>
            </a:r>
            <a:endParaRPr lang="en-AU"/>
          </a:p>
          <a:p>
            <a:pPr marL="171450" indent="-171450">
              <a:buFont typeface="Calibri"/>
              <a:buChar char="-"/>
            </a:pPr>
            <a:r>
              <a:rPr lang="en-AU">
                <a:latin typeface="Karla"/>
              </a:rPr>
              <a:t>Reporting KPIs to the Commonwealth remain the same. </a:t>
            </a:r>
            <a:endParaRPr lang="en-AU"/>
          </a:p>
          <a:p>
            <a:pPr marL="171450" indent="-171450">
              <a:buFont typeface="Calibri"/>
              <a:buChar char="-"/>
            </a:pPr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8D25B4-DD07-1BAD-6C96-FB5FEF5F67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C905E4-0F1D-4AA9-AFAF-CA88ABC2AC42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72002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9B1E1C-D8D6-8051-CDD7-3642F2579A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EDE44CA-4A51-8DAA-4DA9-0491ED5A4E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72BDCF-A2FD-1640-FA6A-DC6768F275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>
                <a:latin typeface="Karla"/>
              </a:rPr>
              <a:t>Purpose: Describe further breakdown of payment structure.</a:t>
            </a:r>
          </a:p>
          <a:p>
            <a:endParaRPr lang="en-AU"/>
          </a:p>
          <a:p>
            <a:r>
              <a:rPr lang="en-AU">
                <a:latin typeface="Karla"/>
              </a:rPr>
              <a:t>Talking Points:</a:t>
            </a:r>
          </a:p>
          <a:p>
            <a:pPr marL="171450" indent="-171450">
              <a:buFont typeface="Calibri"/>
              <a:buChar char="-"/>
            </a:pPr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4FDFB3-65DB-180A-30F7-4AA7E7E3512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C905E4-0F1D-4AA9-AFAF-CA88ABC2AC42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32690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A427D2-3AD2-CA75-6B13-5E57A89DC4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78C7F2-1C4E-5EFB-40AD-AF1DDE4A80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EADED68-F120-844D-DC2D-2DD5251DC1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>
                <a:latin typeface="Karla"/>
              </a:rPr>
              <a:t>Purpose: Describe 3 year plan for payment mechanisms. </a:t>
            </a:r>
          </a:p>
          <a:p>
            <a:endParaRPr lang="en-AU"/>
          </a:p>
          <a:p>
            <a:r>
              <a:rPr lang="en-AU">
                <a:latin typeface="Karla"/>
              </a:rPr>
              <a:t>Talking Points:</a:t>
            </a:r>
          </a:p>
          <a:p>
            <a:pPr marL="171450" indent="-171450">
              <a:buFont typeface="Calibri"/>
              <a:buChar char="-"/>
            </a:pPr>
            <a:endParaRPr lang="en-AU"/>
          </a:p>
          <a:p>
            <a:pPr marL="171450" indent="-171450">
              <a:buFont typeface="Calibri"/>
              <a:buChar char="-"/>
            </a:pPr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EB0F73-7170-16DC-1A14-CEB7777A77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C905E4-0F1D-4AA9-AFAF-CA88ABC2AC42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79370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A3F1C04-3200-4425-86D0-2F9E2EAC9EF4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4772203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1200"/>
              </a:spcAft>
              <a:buNone/>
              <a:defRPr sz="3800" b="1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sp>
        <p:nvSpPr>
          <p:cNvPr id="146" name="Text Placeholder 135">
            <a:extLst>
              <a:ext uri="{FF2B5EF4-FFF2-40B4-BE49-F238E27FC236}">
                <a16:creationId xmlns:a16="http://schemas.microsoft.com/office/drawing/2014/main" id="{56E7987E-D425-4641-A476-A2F2AFEFA92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  <p:grpSp>
        <p:nvGrpSpPr>
          <p:cNvPr id="67" name="Group 4">
            <a:extLst>
              <a:ext uri="{FF2B5EF4-FFF2-40B4-BE49-F238E27FC236}">
                <a16:creationId xmlns:a16="http://schemas.microsoft.com/office/drawing/2014/main" id="{17413FA8-B926-4F79-BE67-4D826E05949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21066" y="453777"/>
            <a:ext cx="1662286" cy="1666547"/>
            <a:chOff x="2864" y="1181"/>
            <a:chExt cx="1952" cy="1957"/>
          </a:xfrm>
          <a:blipFill dpi="0" rotWithShape="1">
            <a:blip r:embed="rId2"/>
            <a:srcRect/>
            <a:stretch>
              <a:fillRect/>
            </a:stretch>
          </a:blipFill>
        </p:grpSpPr>
        <p:sp>
          <p:nvSpPr>
            <p:cNvPr id="68" name="AutoShape 3">
              <a:extLst>
                <a:ext uri="{FF2B5EF4-FFF2-40B4-BE49-F238E27FC236}">
                  <a16:creationId xmlns:a16="http://schemas.microsoft.com/office/drawing/2014/main" id="{67A0898D-5E9C-4ECA-8716-B27BD4E303A7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69" name="Rectangle 5">
              <a:extLst>
                <a:ext uri="{FF2B5EF4-FFF2-40B4-BE49-F238E27FC236}">
                  <a16:creationId xmlns:a16="http://schemas.microsoft.com/office/drawing/2014/main" id="{239A1E07-3A1C-41F5-92ED-8B3567E0FF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0" name="Freeform 6">
              <a:extLst>
                <a:ext uri="{FF2B5EF4-FFF2-40B4-BE49-F238E27FC236}">
                  <a16:creationId xmlns:a16="http://schemas.microsoft.com/office/drawing/2014/main" id="{E9D6C4A4-2B67-4288-817E-9A4BFFCA30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1" name="Freeform 7">
              <a:extLst>
                <a:ext uri="{FF2B5EF4-FFF2-40B4-BE49-F238E27FC236}">
                  <a16:creationId xmlns:a16="http://schemas.microsoft.com/office/drawing/2014/main" id="{6B8D6F90-2C6B-4628-AE61-C65FEE4878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C0E4DAA6-41BC-4FB2-8CF3-65E9131F42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3" name="Freeform 9">
              <a:extLst>
                <a:ext uri="{FF2B5EF4-FFF2-40B4-BE49-F238E27FC236}">
                  <a16:creationId xmlns:a16="http://schemas.microsoft.com/office/drawing/2014/main" id="{2474DAF8-D7A5-411C-A001-70D5A07D88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4" name="Freeform 10">
              <a:extLst>
                <a:ext uri="{FF2B5EF4-FFF2-40B4-BE49-F238E27FC236}">
                  <a16:creationId xmlns:a16="http://schemas.microsoft.com/office/drawing/2014/main" id="{06B8E519-0572-4B3F-9254-9C405ADACC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5" name="Freeform 11">
              <a:extLst>
                <a:ext uri="{FF2B5EF4-FFF2-40B4-BE49-F238E27FC236}">
                  <a16:creationId xmlns:a16="http://schemas.microsoft.com/office/drawing/2014/main" id="{4DA47499-7EFA-44C7-93C9-40237E640F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6" name="Freeform 12">
              <a:extLst>
                <a:ext uri="{FF2B5EF4-FFF2-40B4-BE49-F238E27FC236}">
                  <a16:creationId xmlns:a16="http://schemas.microsoft.com/office/drawing/2014/main" id="{C8EA471D-6FAF-4C4F-B21D-814C5991B9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7" name="Freeform 13">
              <a:extLst>
                <a:ext uri="{FF2B5EF4-FFF2-40B4-BE49-F238E27FC236}">
                  <a16:creationId xmlns:a16="http://schemas.microsoft.com/office/drawing/2014/main" id="{BEC055FD-07C4-4F86-A926-EFFCD0E704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8" name="Freeform 14">
              <a:extLst>
                <a:ext uri="{FF2B5EF4-FFF2-40B4-BE49-F238E27FC236}">
                  <a16:creationId xmlns:a16="http://schemas.microsoft.com/office/drawing/2014/main" id="{DBC8C3F1-E782-4E33-8648-C0D9005D2F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37" name="Freeform 15">
              <a:extLst>
                <a:ext uri="{FF2B5EF4-FFF2-40B4-BE49-F238E27FC236}">
                  <a16:creationId xmlns:a16="http://schemas.microsoft.com/office/drawing/2014/main" id="{511543D3-2D83-4FA7-A510-0D59ED4DFD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1" name="Freeform 16">
              <a:extLst>
                <a:ext uri="{FF2B5EF4-FFF2-40B4-BE49-F238E27FC236}">
                  <a16:creationId xmlns:a16="http://schemas.microsoft.com/office/drawing/2014/main" id="{5C99A006-6A36-4318-A0F6-FC763AF1FD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2" name="Freeform 17">
              <a:extLst>
                <a:ext uri="{FF2B5EF4-FFF2-40B4-BE49-F238E27FC236}">
                  <a16:creationId xmlns:a16="http://schemas.microsoft.com/office/drawing/2014/main" id="{D65C69B5-F055-4C41-976C-E6733BC98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3" name="Freeform 18">
              <a:extLst>
                <a:ext uri="{FF2B5EF4-FFF2-40B4-BE49-F238E27FC236}">
                  <a16:creationId xmlns:a16="http://schemas.microsoft.com/office/drawing/2014/main" id="{1A3177FB-A0BD-4B08-B181-14A829DF1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4" name="Freeform 19">
              <a:extLst>
                <a:ext uri="{FF2B5EF4-FFF2-40B4-BE49-F238E27FC236}">
                  <a16:creationId xmlns:a16="http://schemas.microsoft.com/office/drawing/2014/main" id="{3528B336-8FBC-4C1E-B4B2-C99449F8E8B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5" name="Freeform 20">
              <a:extLst>
                <a:ext uri="{FF2B5EF4-FFF2-40B4-BE49-F238E27FC236}">
                  <a16:creationId xmlns:a16="http://schemas.microsoft.com/office/drawing/2014/main" id="{BD4F46C1-2FE6-44C8-A55E-45E98246F6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8" name="Rectangle 21">
              <a:extLst>
                <a:ext uri="{FF2B5EF4-FFF2-40B4-BE49-F238E27FC236}">
                  <a16:creationId xmlns:a16="http://schemas.microsoft.com/office/drawing/2014/main" id="{09DD4248-B5EF-40DF-AEE7-8BD9A8A741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9" name="Freeform 22">
              <a:extLst>
                <a:ext uri="{FF2B5EF4-FFF2-40B4-BE49-F238E27FC236}">
                  <a16:creationId xmlns:a16="http://schemas.microsoft.com/office/drawing/2014/main" id="{0EF4CE3A-3112-407D-B00C-337ACD7FDA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0" name="Freeform 23">
              <a:extLst>
                <a:ext uri="{FF2B5EF4-FFF2-40B4-BE49-F238E27FC236}">
                  <a16:creationId xmlns:a16="http://schemas.microsoft.com/office/drawing/2014/main" id="{EEE8532D-E6E7-4BD0-9A45-58E8A1A93D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1" name="Freeform 24">
              <a:extLst>
                <a:ext uri="{FF2B5EF4-FFF2-40B4-BE49-F238E27FC236}">
                  <a16:creationId xmlns:a16="http://schemas.microsoft.com/office/drawing/2014/main" id="{2B2B85B8-C753-425A-ACC5-3B2B2268FE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2" name="Freeform 25">
              <a:extLst>
                <a:ext uri="{FF2B5EF4-FFF2-40B4-BE49-F238E27FC236}">
                  <a16:creationId xmlns:a16="http://schemas.microsoft.com/office/drawing/2014/main" id="{023916B4-1AD7-4055-9353-DB438003EF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3" name="Freeform 26">
              <a:extLst>
                <a:ext uri="{FF2B5EF4-FFF2-40B4-BE49-F238E27FC236}">
                  <a16:creationId xmlns:a16="http://schemas.microsoft.com/office/drawing/2014/main" id="{6D2086AF-BC95-4BE8-AB84-A66F4C80A6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4" name="Freeform 27">
              <a:extLst>
                <a:ext uri="{FF2B5EF4-FFF2-40B4-BE49-F238E27FC236}">
                  <a16:creationId xmlns:a16="http://schemas.microsoft.com/office/drawing/2014/main" id="{E7A147C6-9FDA-4D95-A42A-92861D17D6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5" name="Freeform 28">
              <a:extLst>
                <a:ext uri="{FF2B5EF4-FFF2-40B4-BE49-F238E27FC236}">
                  <a16:creationId xmlns:a16="http://schemas.microsoft.com/office/drawing/2014/main" id="{45D5BF2A-EF85-417C-B03F-30CEAE118D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6" name="Freeform 29">
              <a:extLst>
                <a:ext uri="{FF2B5EF4-FFF2-40B4-BE49-F238E27FC236}">
                  <a16:creationId xmlns:a16="http://schemas.microsoft.com/office/drawing/2014/main" id="{795098EC-2ACB-4C39-AA2D-A12FF06BA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7" name="Freeform 30">
              <a:extLst>
                <a:ext uri="{FF2B5EF4-FFF2-40B4-BE49-F238E27FC236}">
                  <a16:creationId xmlns:a16="http://schemas.microsoft.com/office/drawing/2014/main" id="{447048D5-71A3-4A33-9E51-0388E2EC90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8" name="Freeform 31">
              <a:extLst>
                <a:ext uri="{FF2B5EF4-FFF2-40B4-BE49-F238E27FC236}">
                  <a16:creationId xmlns:a16="http://schemas.microsoft.com/office/drawing/2014/main" id="{5866A8C0-C096-47DA-9C8E-D82E74E47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9" name="Freeform 32">
              <a:extLst>
                <a:ext uri="{FF2B5EF4-FFF2-40B4-BE49-F238E27FC236}">
                  <a16:creationId xmlns:a16="http://schemas.microsoft.com/office/drawing/2014/main" id="{4B91E936-1F6C-4BAE-9F8C-2A198926D7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0" name="Freeform 34">
              <a:extLst>
                <a:ext uri="{FF2B5EF4-FFF2-40B4-BE49-F238E27FC236}">
                  <a16:creationId xmlns:a16="http://schemas.microsoft.com/office/drawing/2014/main" id="{88823701-A9F3-4323-AD0C-A2AD4BE0B9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1" name="Freeform 35">
              <a:extLst>
                <a:ext uri="{FF2B5EF4-FFF2-40B4-BE49-F238E27FC236}">
                  <a16:creationId xmlns:a16="http://schemas.microsoft.com/office/drawing/2014/main" id="{C495104A-F915-4B0C-961E-EF42EEA3C8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2" name="Freeform 36">
              <a:extLst>
                <a:ext uri="{FF2B5EF4-FFF2-40B4-BE49-F238E27FC236}">
                  <a16:creationId xmlns:a16="http://schemas.microsoft.com/office/drawing/2014/main" id="{6A51DB3B-303A-4D1F-A5E4-A76D700245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3" name="Freeform 37">
              <a:extLst>
                <a:ext uri="{FF2B5EF4-FFF2-40B4-BE49-F238E27FC236}">
                  <a16:creationId xmlns:a16="http://schemas.microsoft.com/office/drawing/2014/main" id="{E2E2D34A-EEA4-4A9C-81F3-B794F5CEFE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4" name="Freeform 38">
              <a:extLst>
                <a:ext uri="{FF2B5EF4-FFF2-40B4-BE49-F238E27FC236}">
                  <a16:creationId xmlns:a16="http://schemas.microsoft.com/office/drawing/2014/main" id="{8B3BECFC-710D-46F1-96FF-B5371F927C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5" name="Freeform 39">
              <a:extLst>
                <a:ext uri="{FF2B5EF4-FFF2-40B4-BE49-F238E27FC236}">
                  <a16:creationId xmlns:a16="http://schemas.microsoft.com/office/drawing/2014/main" id="{90665531-8DF2-4759-B8DB-FEF6D91D48E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6" name="Freeform 40">
              <a:extLst>
                <a:ext uri="{FF2B5EF4-FFF2-40B4-BE49-F238E27FC236}">
                  <a16:creationId xmlns:a16="http://schemas.microsoft.com/office/drawing/2014/main" id="{26F566F5-E589-4F94-81DD-DD2CA39F85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7" name="Freeform 41">
              <a:extLst>
                <a:ext uri="{FF2B5EF4-FFF2-40B4-BE49-F238E27FC236}">
                  <a16:creationId xmlns:a16="http://schemas.microsoft.com/office/drawing/2014/main" id="{AD2F1B90-FBA5-468A-ADE5-6AF4A84870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8" name="Freeform 42">
              <a:extLst>
                <a:ext uri="{FF2B5EF4-FFF2-40B4-BE49-F238E27FC236}">
                  <a16:creationId xmlns:a16="http://schemas.microsoft.com/office/drawing/2014/main" id="{2FD588FF-B434-4865-9645-F295045E86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9" name="Freeform 43">
              <a:extLst>
                <a:ext uri="{FF2B5EF4-FFF2-40B4-BE49-F238E27FC236}">
                  <a16:creationId xmlns:a16="http://schemas.microsoft.com/office/drawing/2014/main" id="{19302DA6-B22F-4EF5-A69A-ABD9063A8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0" name="Freeform 44">
              <a:extLst>
                <a:ext uri="{FF2B5EF4-FFF2-40B4-BE49-F238E27FC236}">
                  <a16:creationId xmlns:a16="http://schemas.microsoft.com/office/drawing/2014/main" id="{FE7EC85F-4555-4FCA-8CCD-19C42F488E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1" name="Freeform 45">
              <a:extLst>
                <a:ext uri="{FF2B5EF4-FFF2-40B4-BE49-F238E27FC236}">
                  <a16:creationId xmlns:a16="http://schemas.microsoft.com/office/drawing/2014/main" id="{1962168F-4DE0-46A6-8EFD-C4A1BA3751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2" name="Freeform 46">
              <a:extLst>
                <a:ext uri="{FF2B5EF4-FFF2-40B4-BE49-F238E27FC236}">
                  <a16:creationId xmlns:a16="http://schemas.microsoft.com/office/drawing/2014/main" id="{7B9E10B1-1CAA-4E4C-B256-1BA034A292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3" name="Freeform 47">
              <a:extLst>
                <a:ext uri="{FF2B5EF4-FFF2-40B4-BE49-F238E27FC236}">
                  <a16:creationId xmlns:a16="http://schemas.microsoft.com/office/drawing/2014/main" id="{A8D8148A-C053-4A37-844E-75EF041690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4" name="Freeform 48">
              <a:extLst>
                <a:ext uri="{FF2B5EF4-FFF2-40B4-BE49-F238E27FC236}">
                  <a16:creationId xmlns:a16="http://schemas.microsoft.com/office/drawing/2014/main" id="{A20CEF9E-743B-4F98-9FF0-EBBBC4FEB2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5" name="Freeform 49">
              <a:extLst>
                <a:ext uri="{FF2B5EF4-FFF2-40B4-BE49-F238E27FC236}">
                  <a16:creationId xmlns:a16="http://schemas.microsoft.com/office/drawing/2014/main" id="{B790B20E-FD43-462D-8007-EC2B15D8FC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6" name="Freeform 50">
              <a:extLst>
                <a:ext uri="{FF2B5EF4-FFF2-40B4-BE49-F238E27FC236}">
                  <a16:creationId xmlns:a16="http://schemas.microsoft.com/office/drawing/2014/main" id="{3DCCF01C-7444-4B23-BDF1-D8027642EA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7" name="Freeform 51">
              <a:extLst>
                <a:ext uri="{FF2B5EF4-FFF2-40B4-BE49-F238E27FC236}">
                  <a16:creationId xmlns:a16="http://schemas.microsoft.com/office/drawing/2014/main" id="{9C1F7A58-7A43-4EF6-8310-FC2223E349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8" name="Freeform 52">
              <a:extLst>
                <a:ext uri="{FF2B5EF4-FFF2-40B4-BE49-F238E27FC236}">
                  <a16:creationId xmlns:a16="http://schemas.microsoft.com/office/drawing/2014/main" id="{CFADC32E-9FC7-4E6E-842D-E7A407A37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9" name="Freeform 53">
              <a:extLst>
                <a:ext uri="{FF2B5EF4-FFF2-40B4-BE49-F238E27FC236}">
                  <a16:creationId xmlns:a16="http://schemas.microsoft.com/office/drawing/2014/main" id="{D5B27FA2-8D3C-408A-9480-A049E6D384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0" name="Freeform 54">
              <a:extLst>
                <a:ext uri="{FF2B5EF4-FFF2-40B4-BE49-F238E27FC236}">
                  <a16:creationId xmlns:a16="http://schemas.microsoft.com/office/drawing/2014/main" id="{1FE7A3D8-FB06-4617-BFC5-9D2DCCA8AB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1" name="Freeform 55">
              <a:extLst>
                <a:ext uri="{FF2B5EF4-FFF2-40B4-BE49-F238E27FC236}">
                  <a16:creationId xmlns:a16="http://schemas.microsoft.com/office/drawing/2014/main" id="{465E4A38-A19E-4A38-8E8A-A82D12FA5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2" name="Freeform 56">
              <a:extLst>
                <a:ext uri="{FF2B5EF4-FFF2-40B4-BE49-F238E27FC236}">
                  <a16:creationId xmlns:a16="http://schemas.microsoft.com/office/drawing/2014/main" id="{A1F24538-62EE-43F6-AFF0-9E5AC6235F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3" name="Freeform 57">
              <a:extLst>
                <a:ext uri="{FF2B5EF4-FFF2-40B4-BE49-F238E27FC236}">
                  <a16:creationId xmlns:a16="http://schemas.microsoft.com/office/drawing/2014/main" id="{E45D68DF-3FB9-4397-9E42-B8F0FD2CBC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4" name="Freeform 58">
              <a:extLst>
                <a:ext uri="{FF2B5EF4-FFF2-40B4-BE49-F238E27FC236}">
                  <a16:creationId xmlns:a16="http://schemas.microsoft.com/office/drawing/2014/main" id="{A559BEA7-D8F9-48FE-8B9C-D2CC236311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5" name="Freeform 59">
              <a:extLst>
                <a:ext uri="{FF2B5EF4-FFF2-40B4-BE49-F238E27FC236}">
                  <a16:creationId xmlns:a16="http://schemas.microsoft.com/office/drawing/2014/main" id="{00C3857F-D388-4662-B791-624CEA2D4E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6" name="Freeform 60">
              <a:extLst>
                <a:ext uri="{FF2B5EF4-FFF2-40B4-BE49-F238E27FC236}">
                  <a16:creationId xmlns:a16="http://schemas.microsoft.com/office/drawing/2014/main" id="{509EDC47-72F4-4A73-A0DC-EFEEA7F78B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7" name="Freeform 61">
              <a:extLst>
                <a:ext uri="{FF2B5EF4-FFF2-40B4-BE49-F238E27FC236}">
                  <a16:creationId xmlns:a16="http://schemas.microsoft.com/office/drawing/2014/main" id="{82FD3E03-FA3C-47B4-A46E-1FDBD51C45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8" name="Freeform 62">
              <a:extLst>
                <a:ext uri="{FF2B5EF4-FFF2-40B4-BE49-F238E27FC236}">
                  <a16:creationId xmlns:a16="http://schemas.microsoft.com/office/drawing/2014/main" id="{B71695B0-B6B0-40D5-8FAF-58EC726C64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</p:grpSp>
      <p:sp>
        <p:nvSpPr>
          <p:cNvPr id="66" name="Picture Placeholder 138">
            <a:extLst>
              <a:ext uri="{FF2B5EF4-FFF2-40B4-BE49-F238E27FC236}">
                <a16:creationId xmlns:a16="http://schemas.microsoft.com/office/drawing/2014/main" id="{F66FA02B-43F8-442C-A7E5-0D31D41E9CE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2241" y="1030147"/>
            <a:ext cx="5919758" cy="5825419"/>
          </a:xfrm>
          <a:custGeom>
            <a:avLst/>
            <a:gdLst>
              <a:gd name="connsiteX0" fmla="*/ 5919758 w 5919758"/>
              <a:gd name="connsiteY0" fmla="*/ 0 h 5825419"/>
              <a:gd name="connsiteX1" fmla="*/ 5919758 w 5919758"/>
              <a:gd name="connsiteY1" fmla="*/ 5825419 h 5825419"/>
              <a:gd name="connsiteX2" fmla="*/ 1120273 w 5919758"/>
              <a:gd name="connsiteY2" fmla="*/ 5825419 h 5825419"/>
              <a:gd name="connsiteX3" fmla="*/ 0 w 5919758"/>
              <a:gd name="connsiteY3" fmla="*/ 1588036 h 582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9758" h="5825419">
                <a:moveTo>
                  <a:pt x="5919758" y="0"/>
                </a:moveTo>
                <a:lnTo>
                  <a:pt x="5919758" y="5825419"/>
                </a:lnTo>
                <a:lnTo>
                  <a:pt x="1120273" y="5825419"/>
                </a:lnTo>
                <a:lnTo>
                  <a:pt x="0" y="1588036"/>
                </a:lnTo>
                <a:close/>
              </a:path>
            </a:pathLst>
          </a:custGeom>
          <a:noFill/>
        </p:spPr>
        <p:txBody>
          <a:bodyPr wrap="square" lIns="576000" tIns="1728000" rIns="360000" bIns="360000">
            <a:noAutofit/>
          </a:bodyPr>
          <a:lstStyle>
            <a:lvl1pPr algn="l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AU" noProof="0" dirty="0"/>
              <a:t>Click central icon to add picture or pattern</a:t>
            </a:r>
          </a:p>
        </p:txBody>
      </p:sp>
      <p:sp>
        <p:nvSpPr>
          <p:cNvPr id="147" name="Text Placeholder 140">
            <a:extLst>
              <a:ext uri="{FF2B5EF4-FFF2-40B4-BE49-F238E27FC236}">
                <a16:creationId xmlns:a16="http://schemas.microsoft.com/office/drawing/2014/main" id="{74859718-6497-4295-886B-BD752B23C8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3" y="5394937"/>
            <a:ext cx="4772202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bg1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32500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Picture Placeholder 74">
            <a:extLst>
              <a:ext uri="{FF2B5EF4-FFF2-40B4-BE49-F238E27FC236}">
                <a16:creationId xmlns:a16="http://schemas.microsoft.com/office/drawing/2014/main" id="{3E2304DD-D55D-458E-8153-0D330BDFEFF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1"/>
            <a:ext cx="6538648" cy="6857998"/>
          </a:xfrm>
          <a:solidFill>
            <a:schemeClr val="bg1">
              <a:lumMod val="85000"/>
            </a:schemeClr>
          </a:solidFill>
        </p:spPr>
        <p:txBody>
          <a:bodyPr lIns="360000" tIns="360000" rIns="720000" bIns="360000">
            <a:normAutofit/>
          </a:bodyPr>
          <a:lstStyle>
            <a:lvl1pPr algn="r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AU" noProof="0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1BB3B2C9-CFDB-4AF2-BE63-E2AF8B0E750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4814888" y="0"/>
            <a:ext cx="738981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44EF96-63A5-4D4A-9682-3643FC1F9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C22DD25-61AE-413C-B4D2-EF2365C9B2E1}" type="slidenum">
              <a:rPr lang="en-AU" noProof="0" smtClean="0"/>
              <a:pPr/>
              <a:t>‹#›</a:t>
            </a:fld>
            <a:endParaRPr lang="en-AU" noProof="0"/>
          </a:p>
        </p:txBody>
      </p:sp>
      <p:sp>
        <p:nvSpPr>
          <p:cNvPr id="137" name="Text Placeholder 135">
            <a:extLst>
              <a:ext uri="{FF2B5EF4-FFF2-40B4-BE49-F238E27FC236}">
                <a16:creationId xmlns:a16="http://schemas.microsoft.com/office/drawing/2014/main" id="{081B6B67-7D18-4A84-A9C8-F8EB715A3F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7255" y="616633"/>
            <a:ext cx="1260000" cy="1260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200">
                <a:solidFill>
                  <a:schemeClr val="tx2"/>
                </a:solidFill>
              </a:defRPr>
            </a:lvl1pPr>
            <a:lvl2pPr marL="0" indent="0">
              <a:defRPr sz="200">
                <a:solidFill>
                  <a:schemeClr val="tx2"/>
                </a:solidFill>
              </a:defRPr>
            </a:lvl2pPr>
            <a:lvl3pPr marL="0" indent="0">
              <a:defRPr sz="200">
                <a:solidFill>
                  <a:schemeClr val="tx2"/>
                </a:solidFill>
              </a:defRPr>
            </a:lvl3pPr>
            <a:lvl4pPr>
              <a:defRPr sz="200">
                <a:solidFill>
                  <a:schemeClr val="tx2"/>
                </a:solidFill>
              </a:defRPr>
            </a:lvl4pPr>
            <a:lvl5pPr>
              <a:defRPr sz="200">
                <a:solidFill>
                  <a:schemeClr val="tx2"/>
                </a:solidFill>
              </a:defRPr>
            </a:lvl5pPr>
            <a:lvl6pPr>
              <a:defRPr sz="200">
                <a:solidFill>
                  <a:schemeClr val="tx2"/>
                </a:solidFill>
              </a:defRPr>
            </a:lvl6pPr>
            <a:lvl7pPr>
              <a:defRPr sz="200">
                <a:solidFill>
                  <a:schemeClr val="tx2"/>
                </a:solidFill>
              </a:defRPr>
            </a:lvl7pPr>
            <a:lvl8pPr>
              <a:defRPr sz="200">
                <a:solidFill>
                  <a:schemeClr val="tx2"/>
                </a:solidFill>
              </a:defRPr>
            </a:lvl8pPr>
            <a:lvl9pPr>
              <a:defRPr sz="2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/>
              <a:t>       </a:t>
            </a:r>
          </a:p>
        </p:txBody>
      </p:sp>
      <p:sp>
        <p:nvSpPr>
          <p:cNvPr id="10" name="AutoShape 7">
            <a:extLst>
              <a:ext uri="{FF2B5EF4-FFF2-40B4-BE49-F238E27FC236}">
                <a16:creationId xmlns:a16="http://schemas.microsoft.com/office/drawing/2014/main" id="{768AD39D-5774-4D47-839D-1B36BB540E37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4262967" y="1167579"/>
            <a:ext cx="4549775" cy="421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22" name="Subtitle 21">
            <a:extLst>
              <a:ext uri="{FF2B5EF4-FFF2-40B4-BE49-F238E27FC236}">
                <a16:creationId xmlns:a16="http://schemas.microsoft.com/office/drawing/2014/main" id="{8342C053-5A99-403F-B0F2-E86B39C4B7D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74179" y="0"/>
            <a:ext cx="7417821" cy="6879660"/>
          </a:xfrm>
          <a:custGeom>
            <a:avLst/>
            <a:gdLst>
              <a:gd name="connsiteX0" fmla="*/ 1033462 w 4551363"/>
              <a:gd name="connsiteY0" fmla="*/ 0 h 4221163"/>
              <a:gd name="connsiteX1" fmla="*/ 4551363 w 4551363"/>
              <a:gd name="connsiteY1" fmla="*/ 0 h 4221163"/>
              <a:gd name="connsiteX2" fmla="*/ 4551363 w 4551363"/>
              <a:gd name="connsiteY2" fmla="*/ 4221163 h 4221163"/>
              <a:gd name="connsiteX3" fmla="*/ 1033462 w 4551363"/>
              <a:gd name="connsiteY3" fmla="*/ 4221163 h 4221163"/>
              <a:gd name="connsiteX4" fmla="*/ 0 w 4551363"/>
              <a:gd name="connsiteY4" fmla="*/ 3949701 h 4221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51363" h="4221163">
                <a:moveTo>
                  <a:pt x="1033462" y="0"/>
                </a:moveTo>
                <a:lnTo>
                  <a:pt x="4551363" y="0"/>
                </a:lnTo>
                <a:lnTo>
                  <a:pt x="4551363" y="4221163"/>
                </a:lnTo>
                <a:lnTo>
                  <a:pt x="1033462" y="4221163"/>
                </a:lnTo>
                <a:lnTo>
                  <a:pt x="0" y="39497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2304000" tIns="2700000" rIns="720000" bIns="180000" anchor="t" anchorCtr="0">
            <a:noAutofit/>
          </a:bodyPr>
          <a:lstStyle>
            <a:lvl1pPr marL="0" indent="0" algn="l">
              <a:spcAft>
                <a:spcPts val="1200"/>
              </a:spcAft>
              <a:buNone/>
              <a:defRPr sz="3800" b="1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Divider slide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sp>
        <p:nvSpPr>
          <p:cNvPr id="25" name="Text Placeholder 140">
            <a:extLst>
              <a:ext uri="{FF2B5EF4-FFF2-40B4-BE49-F238E27FC236}">
                <a16:creationId xmlns:a16="http://schemas.microsoft.com/office/drawing/2014/main" id="{1E7CA0C9-C706-491C-A6A8-FDB0B12A21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3" y="5394937"/>
            <a:ext cx="2782490" cy="70723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bg1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11" name="Text Placeholder 135">
            <a:extLst>
              <a:ext uri="{FF2B5EF4-FFF2-40B4-BE49-F238E27FC236}">
                <a16:creationId xmlns:a16="http://schemas.microsoft.com/office/drawing/2014/main" id="{17A51544-3ECD-4ABC-8447-3699A67ACC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37458023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A3F1C04-3200-4425-86D0-2F9E2EAC9EF4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44EF96-63A5-4D4A-9682-3643FC1F9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C22DD25-61AE-413C-B4D2-EF2365C9B2E1}" type="slidenum">
              <a:rPr lang="en-AU" noProof="0" smtClean="0"/>
              <a:pPr/>
              <a:t>‹#›</a:t>
            </a:fld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5999293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1200"/>
              </a:spcAft>
              <a:buNone/>
              <a:defRPr sz="3800" b="1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sp>
        <p:nvSpPr>
          <p:cNvPr id="142" name="Picture Placeholder 141">
            <a:extLst>
              <a:ext uri="{FF2B5EF4-FFF2-40B4-BE49-F238E27FC236}">
                <a16:creationId xmlns:a16="http://schemas.microsoft.com/office/drawing/2014/main" id="{7FEBB377-447E-4F52-87D8-8001155A75D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99359" y="-1"/>
            <a:ext cx="5704638" cy="6879660"/>
          </a:xfrm>
          <a:custGeom>
            <a:avLst/>
            <a:gdLst>
              <a:gd name="connsiteX0" fmla="*/ 1684339 w 5704638"/>
              <a:gd name="connsiteY0" fmla="*/ 0 h 6879660"/>
              <a:gd name="connsiteX1" fmla="*/ 5704638 w 5704638"/>
              <a:gd name="connsiteY1" fmla="*/ 0 h 6879660"/>
              <a:gd name="connsiteX2" fmla="*/ 5704638 w 5704638"/>
              <a:gd name="connsiteY2" fmla="*/ 6879660 h 6879660"/>
              <a:gd name="connsiteX3" fmla="*/ 1684339 w 5704638"/>
              <a:gd name="connsiteY3" fmla="*/ 6879660 h 6879660"/>
              <a:gd name="connsiteX4" fmla="*/ 0 w 5704638"/>
              <a:gd name="connsiteY4" fmla="*/ 6437231 h 6879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04638" h="6879660">
                <a:moveTo>
                  <a:pt x="1684339" y="0"/>
                </a:moveTo>
                <a:lnTo>
                  <a:pt x="5704638" y="0"/>
                </a:lnTo>
                <a:lnTo>
                  <a:pt x="5704638" y="6879660"/>
                </a:lnTo>
                <a:lnTo>
                  <a:pt x="1684339" y="6879660"/>
                </a:lnTo>
                <a:lnTo>
                  <a:pt x="0" y="643723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360000" rIns="360000" bIns="360000">
            <a:noAutofit/>
          </a:bodyPr>
          <a:lstStyle>
            <a:lvl1pPr algn="r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AU" noProof="0"/>
          </a:p>
        </p:txBody>
      </p:sp>
      <p:sp>
        <p:nvSpPr>
          <p:cNvPr id="68" name="Text Placeholder 140">
            <a:extLst>
              <a:ext uri="{FF2B5EF4-FFF2-40B4-BE49-F238E27FC236}">
                <a16:creationId xmlns:a16="http://schemas.microsoft.com/office/drawing/2014/main" id="{73BB30E9-8493-45E3-BD7E-FD5DCB0129E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3" y="5394937"/>
            <a:ext cx="4772202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bg1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grpSp>
        <p:nvGrpSpPr>
          <p:cNvPr id="69" name="Group 4">
            <a:extLst>
              <a:ext uri="{FF2B5EF4-FFF2-40B4-BE49-F238E27FC236}">
                <a16:creationId xmlns:a16="http://schemas.microsoft.com/office/drawing/2014/main" id="{BCF2E7B2-D01F-4846-9FFF-96A7F01CE4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21066" y="453777"/>
            <a:ext cx="1662286" cy="1666547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70" name="AutoShape 3">
              <a:extLst>
                <a:ext uri="{FF2B5EF4-FFF2-40B4-BE49-F238E27FC236}">
                  <a16:creationId xmlns:a16="http://schemas.microsoft.com/office/drawing/2014/main" id="{7687D4E3-DA82-4B62-B19A-86F31731977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1" name="Rectangle 5">
              <a:extLst>
                <a:ext uri="{FF2B5EF4-FFF2-40B4-BE49-F238E27FC236}">
                  <a16:creationId xmlns:a16="http://schemas.microsoft.com/office/drawing/2014/main" id="{B5576FAF-F3E1-4CC5-B88B-0198F21051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2" name="Freeform 6">
              <a:extLst>
                <a:ext uri="{FF2B5EF4-FFF2-40B4-BE49-F238E27FC236}">
                  <a16:creationId xmlns:a16="http://schemas.microsoft.com/office/drawing/2014/main" id="{F87E52B1-38C9-4E33-AAF3-BF06500A38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3" name="Freeform 7">
              <a:extLst>
                <a:ext uri="{FF2B5EF4-FFF2-40B4-BE49-F238E27FC236}">
                  <a16:creationId xmlns:a16="http://schemas.microsoft.com/office/drawing/2014/main" id="{836EB3B1-3E19-4A0A-A9DE-B85EC78B08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4" name="Freeform 8">
              <a:extLst>
                <a:ext uri="{FF2B5EF4-FFF2-40B4-BE49-F238E27FC236}">
                  <a16:creationId xmlns:a16="http://schemas.microsoft.com/office/drawing/2014/main" id="{A541583E-90FA-4A04-9BB4-DF54DE6748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5" name="Freeform 9">
              <a:extLst>
                <a:ext uri="{FF2B5EF4-FFF2-40B4-BE49-F238E27FC236}">
                  <a16:creationId xmlns:a16="http://schemas.microsoft.com/office/drawing/2014/main" id="{AF1BCBE3-95B4-473B-B2BB-88B2A4D464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6" name="Freeform 10">
              <a:extLst>
                <a:ext uri="{FF2B5EF4-FFF2-40B4-BE49-F238E27FC236}">
                  <a16:creationId xmlns:a16="http://schemas.microsoft.com/office/drawing/2014/main" id="{570EB87D-7139-4FCE-8AD0-F04539A831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7" name="Freeform 11">
              <a:extLst>
                <a:ext uri="{FF2B5EF4-FFF2-40B4-BE49-F238E27FC236}">
                  <a16:creationId xmlns:a16="http://schemas.microsoft.com/office/drawing/2014/main" id="{BCD13869-C734-4744-9966-1E45BC7E7B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8" name="Freeform 12">
              <a:extLst>
                <a:ext uri="{FF2B5EF4-FFF2-40B4-BE49-F238E27FC236}">
                  <a16:creationId xmlns:a16="http://schemas.microsoft.com/office/drawing/2014/main" id="{FA510161-0890-48DC-A1C7-4BC9C39F89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37" name="Freeform 13">
              <a:extLst>
                <a:ext uri="{FF2B5EF4-FFF2-40B4-BE49-F238E27FC236}">
                  <a16:creationId xmlns:a16="http://schemas.microsoft.com/office/drawing/2014/main" id="{A94FCB9B-2163-47FE-A471-2F08FDD89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39" name="Freeform 14">
              <a:extLst>
                <a:ext uri="{FF2B5EF4-FFF2-40B4-BE49-F238E27FC236}">
                  <a16:creationId xmlns:a16="http://schemas.microsoft.com/office/drawing/2014/main" id="{D43D310D-82EB-45FB-9575-7A05EC97BA6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1" name="Freeform 15">
              <a:extLst>
                <a:ext uri="{FF2B5EF4-FFF2-40B4-BE49-F238E27FC236}">
                  <a16:creationId xmlns:a16="http://schemas.microsoft.com/office/drawing/2014/main" id="{C27E9B67-E811-420C-B457-B01D5DA938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3" name="Freeform 16">
              <a:extLst>
                <a:ext uri="{FF2B5EF4-FFF2-40B4-BE49-F238E27FC236}">
                  <a16:creationId xmlns:a16="http://schemas.microsoft.com/office/drawing/2014/main" id="{202E0DEF-5320-414A-9D09-9F04D307F9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4" name="Freeform 17">
              <a:extLst>
                <a:ext uri="{FF2B5EF4-FFF2-40B4-BE49-F238E27FC236}">
                  <a16:creationId xmlns:a16="http://schemas.microsoft.com/office/drawing/2014/main" id="{7CDE55A6-B058-43BF-82AD-E2CF701CEF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5" name="Freeform 18">
              <a:extLst>
                <a:ext uri="{FF2B5EF4-FFF2-40B4-BE49-F238E27FC236}">
                  <a16:creationId xmlns:a16="http://schemas.microsoft.com/office/drawing/2014/main" id="{E76D96D4-DB64-4D87-93A0-8CF7BF7C4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6" name="Freeform 19">
              <a:extLst>
                <a:ext uri="{FF2B5EF4-FFF2-40B4-BE49-F238E27FC236}">
                  <a16:creationId xmlns:a16="http://schemas.microsoft.com/office/drawing/2014/main" id="{09C9CCA1-C999-4358-BCFB-93A526B93A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7" name="Freeform 20">
              <a:extLst>
                <a:ext uri="{FF2B5EF4-FFF2-40B4-BE49-F238E27FC236}">
                  <a16:creationId xmlns:a16="http://schemas.microsoft.com/office/drawing/2014/main" id="{091B2AA6-BAFC-4C63-B6E5-E567B0781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8" name="Rectangle 21">
              <a:extLst>
                <a:ext uri="{FF2B5EF4-FFF2-40B4-BE49-F238E27FC236}">
                  <a16:creationId xmlns:a16="http://schemas.microsoft.com/office/drawing/2014/main" id="{09DF5352-9E79-422D-A715-9F8798C83E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9" name="Freeform 22">
              <a:extLst>
                <a:ext uri="{FF2B5EF4-FFF2-40B4-BE49-F238E27FC236}">
                  <a16:creationId xmlns:a16="http://schemas.microsoft.com/office/drawing/2014/main" id="{94E48EF3-5490-4793-84A1-99F9541C9E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0" name="Freeform 23">
              <a:extLst>
                <a:ext uri="{FF2B5EF4-FFF2-40B4-BE49-F238E27FC236}">
                  <a16:creationId xmlns:a16="http://schemas.microsoft.com/office/drawing/2014/main" id="{FF2C4395-852E-4B55-9169-B80758CCDD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1" name="Freeform 24">
              <a:extLst>
                <a:ext uri="{FF2B5EF4-FFF2-40B4-BE49-F238E27FC236}">
                  <a16:creationId xmlns:a16="http://schemas.microsoft.com/office/drawing/2014/main" id="{4A470D8C-6B28-4432-B2DC-BB7F4AAD01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2" name="Freeform 25">
              <a:extLst>
                <a:ext uri="{FF2B5EF4-FFF2-40B4-BE49-F238E27FC236}">
                  <a16:creationId xmlns:a16="http://schemas.microsoft.com/office/drawing/2014/main" id="{51494A52-CCA4-4E8F-B96C-7191A78BEA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3" name="Freeform 26">
              <a:extLst>
                <a:ext uri="{FF2B5EF4-FFF2-40B4-BE49-F238E27FC236}">
                  <a16:creationId xmlns:a16="http://schemas.microsoft.com/office/drawing/2014/main" id="{F9581B5B-4CC9-40EF-B351-1E0844E7793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4" name="Freeform 27">
              <a:extLst>
                <a:ext uri="{FF2B5EF4-FFF2-40B4-BE49-F238E27FC236}">
                  <a16:creationId xmlns:a16="http://schemas.microsoft.com/office/drawing/2014/main" id="{B36CE5E6-82DB-4EC4-B8F2-00441C7F00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5" name="Freeform 28">
              <a:extLst>
                <a:ext uri="{FF2B5EF4-FFF2-40B4-BE49-F238E27FC236}">
                  <a16:creationId xmlns:a16="http://schemas.microsoft.com/office/drawing/2014/main" id="{CCB0DDE8-E457-4049-A1B5-9DC1A38E54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6" name="Freeform 29">
              <a:extLst>
                <a:ext uri="{FF2B5EF4-FFF2-40B4-BE49-F238E27FC236}">
                  <a16:creationId xmlns:a16="http://schemas.microsoft.com/office/drawing/2014/main" id="{F582F19F-50DB-4CD0-9261-9F3D4369DE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7" name="Freeform 30">
              <a:extLst>
                <a:ext uri="{FF2B5EF4-FFF2-40B4-BE49-F238E27FC236}">
                  <a16:creationId xmlns:a16="http://schemas.microsoft.com/office/drawing/2014/main" id="{03238F99-8877-414A-B15E-AC6904170A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8" name="Freeform 31">
              <a:extLst>
                <a:ext uri="{FF2B5EF4-FFF2-40B4-BE49-F238E27FC236}">
                  <a16:creationId xmlns:a16="http://schemas.microsoft.com/office/drawing/2014/main" id="{4BB808B9-70D1-4973-9B42-7047A60970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9" name="Freeform 32">
              <a:extLst>
                <a:ext uri="{FF2B5EF4-FFF2-40B4-BE49-F238E27FC236}">
                  <a16:creationId xmlns:a16="http://schemas.microsoft.com/office/drawing/2014/main" id="{F9C9A6F1-DCA9-40C4-A241-EAD329309E9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0" name="Freeform 34">
              <a:extLst>
                <a:ext uri="{FF2B5EF4-FFF2-40B4-BE49-F238E27FC236}">
                  <a16:creationId xmlns:a16="http://schemas.microsoft.com/office/drawing/2014/main" id="{E0AEF41F-FC56-4890-9142-E6A51D258B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1" name="Freeform 35">
              <a:extLst>
                <a:ext uri="{FF2B5EF4-FFF2-40B4-BE49-F238E27FC236}">
                  <a16:creationId xmlns:a16="http://schemas.microsoft.com/office/drawing/2014/main" id="{6145C89F-8512-4401-B52C-D9558C1D01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2" name="Freeform 36">
              <a:extLst>
                <a:ext uri="{FF2B5EF4-FFF2-40B4-BE49-F238E27FC236}">
                  <a16:creationId xmlns:a16="http://schemas.microsoft.com/office/drawing/2014/main" id="{ED9CFB26-B8E6-48B1-A29F-24EB666228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3" name="Freeform 37">
              <a:extLst>
                <a:ext uri="{FF2B5EF4-FFF2-40B4-BE49-F238E27FC236}">
                  <a16:creationId xmlns:a16="http://schemas.microsoft.com/office/drawing/2014/main" id="{F6E85637-D434-4429-B291-1ECF3AEA6E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4" name="Freeform 38">
              <a:extLst>
                <a:ext uri="{FF2B5EF4-FFF2-40B4-BE49-F238E27FC236}">
                  <a16:creationId xmlns:a16="http://schemas.microsoft.com/office/drawing/2014/main" id="{30C150FF-3376-469B-9681-2D2C449866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5" name="Freeform 39">
              <a:extLst>
                <a:ext uri="{FF2B5EF4-FFF2-40B4-BE49-F238E27FC236}">
                  <a16:creationId xmlns:a16="http://schemas.microsoft.com/office/drawing/2014/main" id="{434EB90B-7746-4C60-9E11-00C8E6B4B1F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6" name="Freeform 40">
              <a:extLst>
                <a:ext uri="{FF2B5EF4-FFF2-40B4-BE49-F238E27FC236}">
                  <a16:creationId xmlns:a16="http://schemas.microsoft.com/office/drawing/2014/main" id="{7426CC65-8A41-4481-9E5D-C5331B6EE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7" name="Freeform 41">
              <a:extLst>
                <a:ext uri="{FF2B5EF4-FFF2-40B4-BE49-F238E27FC236}">
                  <a16:creationId xmlns:a16="http://schemas.microsoft.com/office/drawing/2014/main" id="{97E7B34D-0DDF-4DE2-99C4-6BC45D794E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8" name="Freeform 42">
              <a:extLst>
                <a:ext uri="{FF2B5EF4-FFF2-40B4-BE49-F238E27FC236}">
                  <a16:creationId xmlns:a16="http://schemas.microsoft.com/office/drawing/2014/main" id="{6FC8D70A-8526-4C79-92C2-97301B914B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9" name="Freeform 43">
              <a:extLst>
                <a:ext uri="{FF2B5EF4-FFF2-40B4-BE49-F238E27FC236}">
                  <a16:creationId xmlns:a16="http://schemas.microsoft.com/office/drawing/2014/main" id="{39BE5684-35BB-46F4-9C5C-EAF067BC62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0" name="Freeform 44">
              <a:extLst>
                <a:ext uri="{FF2B5EF4-FFF2-40B4-BE49-F238E27FC236}">
                  <a16:creationId xmlns:a16="http://schemas.microsoft.com/office/drawing/2014/main" id="{5089B3F9-64DE-4CB8-BF0E-34B007F8C7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1" name="Freeform 45">
              <a:extLst>
                <a:ext uri="{FF2B5EF4-FFF2-40B4-BE49-F238E27FC236}">
                  <a16:creationId xmlns:a16="http://schemas.microsoft.com/office/drawing/2014/main" id="{04FECBD9-B54C-4D5A-A9AA-E7619DF761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2" name="Freeform 46">
              <a:extLst>
                <a:ext uri="{FF2B5EF4-FFF2-40B4-BE49-F238E27FC236}">
                  <a16:creationId xmlns:a16="http://schemas.microsoft.com/office/drawing/2014/main" id="{0ADCA952-0EDE-409C-B4D0-54FF479FC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3" name="Freeform 47">
              <a:extLst>
                <a:ext uri="{FF2B5EF4-FFF2-40B4-BE49-F238E27FC236}">
                  <a16:creationId xmlns:a16="http://schemas.microsoft.com/office/drawing/2014/main" id="{A119A132-F0A3-4452-851C-D950D84D53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4" name="Freeform 48">
              <a:extLst>
                <a:ext uri="{FF2B5EF4-FFF2-40B4-BE49-F238E27FC236}">
                  <a16:creationId xmlns:a16="http://schemas.microsoft.com/office/drawing/2014/main" id="{BEC3E088-80FD-4804-92A1-2E76BA051D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5" name="Freeform 49">
              <a:extLst>
                <a:ext uri="{FF2B5EF4-FFF2-40B4-BE49-F238E27FC236}">
                  <a16:creationId xmlns:a16="http://schemas.microsoft.com/office/drawing/2014/main" id="{EA438C2B-5159-428A-AB6D-0446066C3F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6" name="Freeform 50">
              <a:extLst>
                <a:ext uri="{FF2B5EF4-FFF2-40B4-BE49-F238E27FC236}">
                  <a16:creationId xmlns:a16="http://schemas.microsoft.com/office/drawing/2014/main" id="{65B120BA-B006-4B6A-8DA5-F28EA6CDDE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7" name="Freeform 51">
              <a:extLst>
                <a:ext uri="{FF2B5EF4-FFF2-40B4-BE49-F238E27FC236}">
                  <a16:creationId xmlns:a16="http://schemas.microsoft.com/office/drawing/2014/main" id="{AB954FAD-8B27-4E4D-A4ED-D5FB03A79E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8" name="Freeform 52">
              <a:extLst>
                <a:ext uri="{FF2B5EF4-FFF2-40B4-BE49-F238E27FC236}">
                  <a16:creationId xmlns:a16="http://schemas.microsoft.com/office/drawing/2014/main" id="{D653A1E5-8205-431C-8097-803798E04C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9" name="Freeform 53">
              <a:extLst>
                <a:ext uri="{FF2B5EF4-FFF2-40B4-BE49-F238E27FC236}">
                  <a16:creationId xmlns:a16="http://schemas.microsoft.com/office/drawing/2014/main" id="{54533794-0E7B-4B02-8F24-BDC83126E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0" name="Freeform 54">
              <a:extLst>
                <a:ext uri="{FF2B5EF4-FFF2-40B4-BE49-F238E27FC236}">
                  <a16:creationId xmlns:a16="http://schemas.microsoft.com/office/drawing/2014/main" id="{D4D327AA-0BF7-4AB8-91E9-11F76213D3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1" name="Freeform 55">
              <a:extLst>
                <a:ext uri="{FF2B5EF4-FFF2-40B4-BE49-F238E27FC236}">
                  <a16:creationId xmlns:a16="http://schemas.microsoft.com/office/drawing/2014/main" id="{F8AB14D4-E7E1-4D1E-8B5C-B1A1653B9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2" name="Freeform 56">
              <a:extLst>
                <a:ext uri="{FF2B5EF4-FFF2-40B4-BE49-F238E27FC236}">
                  <a16:creationId xmlns:a16="http://schemas.microsoft.com/office/drawing/2014/main" id="{9424AD2E-65D9-4F30-9676-D28A85EE68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3" name="Freeform 57">
              <a:extLst>
                <a:ext uri="{FF2B5EF4-FFF2-40B4-BE49-F238E27FC236}">
                  <a16:creationId xmlns:a16="http://schemas.microsoft.com/office/drawing/2014/main" id="{F382EF80-0B77-4D44-B4FF-8B6BE2567C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4" name="Freeform 58">
              <a:extLst>
                <a:ext uri="{FF2B5EF4-FFF2-40B4-BE49-F238E27FC236}">
                  <a16:creationId xmlns:a16="http://schemas.microsoft.com/office/drawing/2014/main" id="{92C5A2A8-B427-43AB-B91C-75984A933E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5" name="Freeform 59">
              <a:extLst>
                <a:ext uri="{FF2B5EF4-FFF2-40B4-BE49-F238E27FC236}">
                  <a16:creationId xmlns:a16="http://schemas.microsoft.com/office/drawing/2014/main" id="{E9704698-3565-478A-9D58-D0A9430F2C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6" name="Freeform 60">
              <a:extLst>
                <a:ext uri="{FF2B5EF4-FFF2-40B4-BE49-F238E27FC236}">
                  <a16:creationId xmlns:a16="http://schemas.microsoft.com/office/drawing/2014/main" id="{E5B6714A-DEAD-4521-A9A6-9E2A55F926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7" name="Freeform 61">
              <a:extLst>
                <a:ext uri="{FF2B5EF4-FFF2-40B4-BE49-F238E27FC236}">
                  <a16:creationId xmlns:a16="http://schemas.microsoft.com/office/drawing/2014/main" id="{EC562B80-8A9A-4CB6-84CD-035DC0A57C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8" name="Freeform 62">
              <a:extLst>
                <a:ext uri="{FF2B5EF4-FFF2-40B4-BE49-F238E27FC236}">
                  <a16:creationId xmlns:a16="http://schemas.microsoft.com/office/drawing/2014/main" id="{F6A42320-400F-45BF-9470-203CFA636A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</p:grpSp>
      <p:sp>
        <p:nvSpPr>
          <p:cNvPr id="189" name="Text Placeholder 135">
            <a:extLst>
              <a:ext uri="{FF2B5EF4-FFF2-40B4-BE49-F238E27FC236}">
                <a16:creationId xmlns:a16="http://schemas.microsoft.com/office/drawing/2014/main" id="{481E019A-1F81-4852-8272-EA711EFF70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19135734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890DF213-662F-4F0F-AF3A-12E90D6AB403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5999291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600"/>
              </a:spcAft>
              <a:buNone/>
              <a:defRPr sz="3800" b="1">
                <a:solidFill>
                  <a:schemeClr val="tx2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03DFE5C-9D27-413D-8A78-400F1804388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499358" y="-1"/>
            <a:ext cx="5704638" cy="6879660"/>
          </a:xfrm>
          <a:custGeom>
            <a:avLst/>
            <a:gdLst>
              <a:gd name="connsiteX0" fmla="*/ 1684339 w 5704638"/>
              <a:gd name="connsiteY0" fmla="*/ 0 h 6879660"/>
              <a:gd name="connsiteX1" fmla="*/ 5704638 w 5704638"/>
              <a:gd name="connsiteY1" fmla="*/ 0 h 6879660"/>
              <a:gd name="connsiteX2" fmla="*/ 5704638 w 5704638"/>
              <a:gd name="connsiteY2" fmla="*/ 6879660 h 6879660"/>
              <a:gd name="connsiteX3" fmla="*/ 1684339 w 5704638"/>
              <a:gd name="connsiteY3" fmla="*/ 6879660 h 6879660"/>
              <a:gd name="connsiteX4" fmla="*/ 0 w 5704638"/>
              <a:gd name="connsiteY4" fmla="*/ 6437231 h 6879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04638" h="6879660">
                <a:moveTo>
                  <a:pt x="1684339" y="0"/>
                </a:moveTo>
                <a:lnTo>
                  <a:pt x="5704638" y="0"/>
                </a:lnTo>
                <a:lnTo>
                  <a:pt x="5704638" y="6879660"/>
                </a:lnTo>
                <a:lnTo>
                  <a:pt x="1684339" y="6879660"/>
                </a:lnTo>
                <a:lnTo>
                  <a:pt x="0" y="6437231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360000" tIns="360000" rIns="360000" bIns="360000">
            <a:noAutofit/>
          </a:bodyPr>
          <a:lstStyle>
            <a:lvl1pPr algn="r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AU" noProof="0"/>
              <a:t>  </a:t>
            </a:r>
          </a:p>
        </p:txBody>
      </p:sp>
      <p:grpSp>
        <p:nvGrpSpPr>
          <p:cNvPr id="131" name="Group 4">
            <a:extLst>
              <a:ext uri="{FF2B5EF4-FFF2-40B4-BE49-F238E27FC236}">
                <a16:creationId xmlns:a16="http://schemas.microsoft.com/office/drawing/2014/main" id="{952F8D34-531B-4437-B768-1A058C4F580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07255" y="616633"/>
            <a:ext cx="1256780" cy="1260000"/>
            <a:chOff x="2864" y="1181"/>
            <a:chExt cx="1952" cy="1957"/>
          </a:xfrm>
          <a:blipFill>
            <a:blip r:embed="rId3"/>
            <a:stretch>
              <a:fillRect/>
            </a:stretch>
          </a:blipFill>
        </p:grpSpPr>
        <p:sp>
          <p:nvSpPr>
            <p:cNvPr id="132" name="AutoShape 3">
              <a:extLst>
                <a:ext uri="{FF2B5EF4-FFF2-40B4-BE49-F238E27FC236}">
                  <a16:creationId xmlns:a16="http://schemas.microsoft.com/office/drawing/2014/main" id="{BBEC651D-9DEC-4A01-B480-D5E4B2FC290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3" name="Rectangle 5">
              <a:extLst>
                <a:ext uri="{FF2B5EF4-FFF2-40B4-BE49-F238E27FC236}">
                  <a16:creationId xmlns:a16="http://schemas.microsoft.com/office/drawing/2014/main" id="{8AC4D9D0-269C-4ACF-BF70-19CF3F874F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4" name="Freeform 6">
              <a:extLst>
                <a:ext uri="{FF2B5EF4-FFF2-40B4-BE49-F238E27FC236}">
                  <a16:creationId xmlns:a16="http://schemas.microsoft.com/office/drawing/2014/main" id="{78D091DD-3D29-4E85-A4F2-B1EF73815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5" name="Freeform 7">
              <a:extLst>
                <a:ext uri="{FF2B5EF4-FFF2-40B4-BE49-F238E27FC236}">
                  <a16:creationId xmlns:a16="http://schemas.microsoft.com/office/drawing/2014/main" id="{41F39217-4860-4557-92E4-3744C451F0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6" name="Freeform 8">
              <a:extLst>
                <a:ext uri="{FF2B5EF4-FFF2-40B4-BE49-F238E27FC236}">
                  <a16:creationId xmlns:a16="http://schemas.microsoft.com/office/drawing/2014/main" id="{E8E8E316-21E4-4CC2-ADF5-C4F81235C3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7" name="Freeform 9">
              <a:extLst>
                <a:ext uri="{FF2B5EF4-FFF2-40B4-BE49-F238E27FC236}">
                  <a16:creationId xmlns:a16="http://schemas.microsoft.com/office/drawing/2014/main" id="{1D3C1F05-2CE2-4C38-A4B0-481C61982A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8" name="Freeform 10">
              <a:extLst>
                <a:ext uri="{FF2B5EF4-FFF2-40B4-BE49-F238E27FC236}">
                  <a16:creationId xmlns:a16="http://schemas.microsoft.com/office/drawing/2014/main" id="{B93800B0-DBA3-4D0A-9F1B-C254419B35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9" name="Freeform 11">
              <a:extLst>
                <a:ext uri="{FF2B5EF4-FFF2-40B4-BE49-F238E27FC236}">
                  <a16:creationId xmlns:a16="http://schemas.microsoft.com/office/drawing/2014/main" id="{DA73D27E-D033-4C84-A492-8DAC896B6E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1" name="Freeform 12">
              <a:extLst>
                <a:ext uri="{FF2B5EF4-FFF2-40B4-BE49-F238E27FC236}">
                  <a16:creationId xmlns:a16="http://schemas.microsoft.com/office/drawing/2014/main" id="{74F6F1BE-8465-4B37-9FA1-D0E1A2E48B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2" name="Freeform 13">
              <a:extLst>
                <a:ext uri="{FF2B5EF4-FFF2-40B4-BE49-F238E27FC236}">
                  <a16:creationId xmlns:a16="http://schemas.microsoft.com/office/drawing/2014/main" id="{9EE5749B-5072-41F9-A57E-284E0A6046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3" name="Freeform 14">
              <a:extLst>
                <a:ext uri="{FF2B5EF4-FFF2-40B4-BE49-F238E27FC236}">
                  <a16:creationId xmlns:a16="http://schemas.microsoft.com/office/drawing/2014/main" id="{2DBB559A-8AB1-47CF-9594-70FFFF07DF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EF6A068B-18BA-48B7-AC57-2231ED0F0A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5" name="Freeform 16">
              <a:extLst>
                <a:ext uri="{FF2B5EF4-FFF2-40B4-BE49-F238E27FC236}">
                  <a16:creationId xmlns:a16="http://schemas.microsoft.com/office/drawing/2014/main" id="{AF34F4D6-E742-4530-A1D5-8CBF297CF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6" name="Freeform 17">
              <a:extLst>
                <a:ext uri="{FF2B5EF4-FFF2-40B4-BE49-F238E27FC236}">
                  <a16:creationId xmlns:a16="http://schemas.microsoft.com/office/drawing/2014/main" id="{FAD1CA84-23AF-476C-9991-F757AE0651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7" name="Freeform 18">
              <a:extLst>
                <a:ext uri="{FF2B5EF4-FFF2-40B4-BE49-F238E27FC236}">
                  <a16:creationId xmlns:a16="http://schemas.microsoft.com/office/drawing/2014/main" id="{ACAEC108-E142-43B0-8B21-F856F93881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8" name="Freeform 19">
              <a:extLst>
                <a:ext uri="{FF2B5EF4-FFF2-40B4-BE49-F238E27FC236}">
                  <a16:creationId xmlns:a16="http://schemas.microsoft.com/office/drawing/2014/main" id="{C85C54C2-C1F3-4F46-AA95-330CA1FBCC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9" name="Freeform 20">
              <a:extLst>
                <a:ext uri="{FF2B5EF4-FFF2-40B4-BE49-F238E27FC236}">
                  <a16:creationId xmlns:a16="http://schemas.microsoft.com/office/drawing/2014/main" id="{DE512848-C980-40EA-8C56-CE3DC8433D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0" name="Rectangle 21">
              <a:extLst>
                <a:ext uri="{FF2B5EF4-FFF2-40B4-BE49-F238E27FC236}">
                  <a16:creationId xmlns:a16="http://schemas.microsoft.com/office/drawing/2014/main" id="{41E59601-BD60-43C2-A624-31E8A46608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1" name="Freeform 22">
              <a:extLst>
                <a:ext uri="{FF2B5EF4-FFF2-40B4-BE49-F238E27FC236}">
                  <a16:creationId xmlns:a16="http://schemas.microsoft.com/office/drawing/2014/main" id="{2FC897BB-D4BC-4B93-BD1F-3FCB8A51B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2" name="Freeform 23">
              <a:extLst>
                <a:ext uri="{FF2B5EF4-FFF2-40B4-BE49-F238E27FC236}">
                  <a16:creationId xmlns:a16="http://schemas.microsoft.com/office/drawing/2014/main" id="{37CB6FDA-B6C4-4A87-9AEB-E2CC768696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3" name="Freeform 24">
              <a:extLst>
                <a:ext uri="{FF2B5EF4-FFF2-40B4-BE49-F238E27FC236}">
                  <a16:creationId xmlns:a16="http://schemas.microsoft.com/office/drawing/2014/main" id="{9EB636E2-EA73-47E1-B9D1-41B5E1183A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4" name="Freeform 25">
              <a:extLst>
                <a:ext uri="{FF2B5EF4-FFF2-40B4-BE49-F238E27FC236}">
                  <a16:creationId xmlns:a16="http://schemas.microsoft.com/office/drawing/2014/main" id="{A1D24BE6-E7F9-419E-9038-3487821748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5" name="Freeform 26">
              <a:extLst>
                <a:ext uri="{FF2B5EF4-FFF2-40B4-BE49-F238E27FC236}">
                  <a16:creationId xmlns:a16="http://schemas.microsoft.com/office/drawing/2014/main" id="{03218CF4-4C2B-499B-A778-31F5E5F57B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6" name="Freeform 27">
              <a:extLst>
                <a:ext uri="{FF2B5EF4-FFF2-40B4-BE49-F238E27FC236}">
                  <a16:creationId xmlns:a16="http://schemas.microsoft.com/office/drawing/2014/main" id="{173799A0-ECB5-493E-9E49-2EA45E4248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7" name="Freeform 28">
              <a:extLst>
                <a:ext uri="{FF2B5EF4-FFF2-40B4-BE49-F238E27FC236}">
                  <a16:creationId xmlns:a16="http://schemas.microsoft.com/office/drawing/2014/main" id="{33E96A3F-7E78-4890-94D5-D7E3CB3B23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8" name="Freeform 29">
              <a:extLst>
                <a:ext uri="{FF2B5EF4-FFF2-40B4-BE49-F238E27FC236}">
                  <a16:creationId xmlns:a16="http://schemas.microsoft.com/office/drawing/2014/main" id="{531E9948-2329-4042-8C88-955E4DCDD7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9" name="Freeform 30">
              <a:extLst>
                <a:ext uri="{FF2B5EF4-FFF2-40B4-BE49-F238E27FC236}">
                  <a16:creationId xmlns:a16="http://schemas.microsoft.com/office/drawing/2014/main" id="{54F08FC5-B24A-449D-BFE5-234C81F9D5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FE60F094-8651-44F7-800A-5C5878936E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1" name="Freeform 32">
              <a:extLst>
                <a:ext uri="{FF2B5EF4-FFF2-40B4-BE49-F238E27FC236}">
                  <a16:creationId xmlns:a16="http://schemas.microsoft.com/office/drawing/2014/main" id="{97B6F0CB-D65A-4FE1-82D0-C900FE691B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2" name="Freeform 34">
              <a:extLst>
                <a:ext uri="{FF2B5EF4-FFF2-40B4-BE49-F238E27FC236}">
                  <a16:creationId xmlns:a16="http://schemas.microsoft.com/office/drawing/2014/main" id="{C5EA344F-8008-488F-91D7-61F621AFAF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3" name="Freeform 35">
              <a:extLst>
                <a:ext uri="{FF2B5EF4-FFF2-40B4-BE49-F238E27FC236}">
                  <a16:creationId xmlns:a16="http://schemas.microsoft.com/office/drawing/2014/main" id="{E3D1E55F-4B1E-4DF3-A491-0D8570B298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4" name="Freeform 36">
              <a:extLst>
                <a:ext uri="{FF2B5EF4-FFF2-40B4-BE49-F238E27FC236}">
                  <a16:creationId xmlns:a16="http://schemas.microsoft.com/office/drawing/2014/main" id="{E873DE5C-24B0-4BF4-8297-4BA1E4AAFF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5" name="Freeform 37">
              <a:extLst>
                <a:ext uri="{FF2B5EF4-FFF2-40B4-BE49-F238E27FC236}">
                  <a16:creationId xmlns:a16="http://schemas.microsoft.com/office/drawing/2014/main" id="{0CB938A8-5CF0-4C5E-984C-0CAEB0C3E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6" name="Freeform 38">
              <a:extLst>
                <a:ext uri="{FF2B5EF4-FFF2-40B4-BE49-F238E27FC236}">
                  <a16:creationId xmlns:a16="http://schemas.microsoft.com/office/drawing/2014/main" id="{78EBBE71-A1CC-4107-AFCC-83E067E576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7" name="Freeform 39">
              <a:extLst>
                <a:ext uri="{FF2B5EF4-FFF2-40B4-BE49-F238E27FC236}">
                  <a16:creationId xmlns:a16="http://schemas.microsoft.com/office/drawing/2014/main" id="{188683EF-DA3F-456E-A35D-B703C1D053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8" name="Freeform 40">
              <a:extLst>
                <a:ext uri="{FF2B5EF4-FFF2-40B4-BE49-F238E27FC236}">
                  <a16:creationId xmlns:a16="http://schemas.microsoft.com/office/drawing/2014/main" id="{67455D6C-9F5E-48F6-9D90-B3BF88850F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9" name="Freeform 41">
              <a:extLst>
                <a:ext uri="{FF2B5EF4-FFF2-40B4-BE49-F238E27FC236}">
                  <a16:creationId xmlns:a16="http://schemas.microsoft.com/office/drawing/2014/main" id="{2049801F-BD8D-4E9D-AAEA-FAFAAC41C8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0" name="Freeform 42">
              <a:extLst>
                <a:ext uri="{FF2B5EF4-FFF2-40B4-BE49-F238E27FC236}">
                  <a16:creationId xmlns:a16="http://schemas.microsoft.com/office/drawing/2014/main" id="{05096163-0CFF-4224-8C90-BA89F552F8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1" name="Freeform 43">
              <a:extLst>
                <a:ext uri="{FF2B5EF4-FFF2-40B4-BE49-F238E27FC236}">
                  <a16:creationId xmlns:a16="http://schemas.microsoft.com/office/drawing/2014/main" id="{F9AE60ED-4BD6-40E5-A3C9-CDC44B29DF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2" name="Freeform 44">
              <a:extLst>
                <a:ext uri="{FF2B5EF4-FFF2-40B4-BE49-F238E27FC236}">
                  <a16:creationId xmlns:a16="http://schemas.microsoft.com/office/drawing/2014/main" id="{DA4117E0-3B90-46EB-B97A-0867BD9DA1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3" name="Freeform 45">
              <a:extLst>
                <a:ext uri="{FF2B5EF4-FFF2-40B4-BE49-F238E27FC236}">
                  <a16:creationId xmlns:a16="http://schemas.microsoft.com/office/drawing/2014/main" id="{761EEC17-AA04-4CC5-B696-C93A624A73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4" name="Freeform 46">
              <a:extLst>
                <a:ext uri="{FF2B5EF4-FFF2-40B4-BE49-F238E27FC236}">
                  <a16:creationId xmlns:a16="http://schemas.microsoft.com/office/drawing/2014/main" id="{19E01E8B-2F3E-4806-9747-A9FD6D7CAB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5" name="Freeform 47">
              <a:extLst>
                <a:ext uri="{FF2B5EF4-FFF2-40B4-BE49-F238E27FC236}">
                  <a16:creationId xmlns:a16="http://schemas.microsoft.com/office/drawing/2014/main" id="{31CE3624-CAB2-42C8-A51A-24F5AB088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6" name="Freeform 48">
              <a:extLst>
                <a:ext uri="{FF2B5EF4-FFF2-40B4-BE49-F238E27FC236}">
                  <a16:creationId xmlns:a16="http://schemas.microsoft.com/office/drawing/2014/main" id="{6046A1D0-D1B4-4EA9-B279-0BB0EB50C4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7" name="Freeform 49">
              <a:extLst>
                <a:ext uri="{FF2B5EF4-FFF2-40B4-BE49-F238E27FC236}">
                  <a16:creationId xmlns:a16="http://schemas.microsoft.com/office/drawing/2014/main" id="{D4B7AB6C-F51F-4D3C-B7AD-C1C1D664E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8" name="Freeform 50">
              <a:extLst>
                <a:ext uri="{FF2B5EF4-FFF2-40B4-BE49-F238E27FC236}">
                  <a16:creationId xmlns:a16="http://schemas.microsoft.com/office/drawing/2014/main" id="{8E10AC4C-338C-4C57-B1AE-E90AD68207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9" name="Freeform 51">
              <a:extLst>
                <a:ext uri="{FF2B5EF4-FFF2-40B4-BE49-F238E27FC236}">
                  <a16:creationId xmlns:a16="http://schemas.microsoft.com/office/drawing/2014/main" id="{34BF4F08-8DEC-4C2B-A2AF-788F7F1E48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0" name="Freeform 52">
              <a:extLst>
                <a:ext uri="{FF2B5EF4-FFF2-40B4-BE49-F238E27FC236}">
                  <a16:creationId xmlns:a16="http://schemas.microsoft.com/office/drawing/2014/main" id="{CFAEED60-DD64-46E7-8E79-CE50C14F1A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1" name="Freeform 53">
              <a:extLst>
                <a:ext uri="{FF2B5EF4-FFF2-40B4-BE49-F238E27FC236}">
                  <a16:creationId xmlns:a16="http://schemas.microsoft.com/office/drawing/2014/main" id="{71261761-F990-43CC-844E-2C0A2477EF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2" name="Freeform 54">
              <a:extLst>
                <a:ext uri="{FF2B5EF4-FFF2-40B4-BE49-F238E27FC236}">
                  <a16:creationId xmlns:a16="http://schemas.microsoft.com/office/drawing/2014/main" id="{D4D822F0-487A-41CD-89A2-BFEAF94DA3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3" name="Freeform 55">
              <a:extLst>
                <a:ext uri="{FF2B5EF4-FFF2-40B4-BE49-F238E27FC236}">
                  <a16:creationId xmlns:a16="http://schemas.microsoft.com/office/drawing/2014/main" id="{64127AD4-1815-4284-AA88-8E4CBE2BEB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4" name="Freeform 56">
              <a:extLst>
                <a:ext uri="{FF2B5EF4-FFF2-40B4-BE49-F238E27FC236}">
                  <a16:creationId xmlns:a16="http://schemas.microsoft.com/office/drawing/2014/main" id="{BD21305C-D290-41CE-8BC3-99457C64FB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5" name="Freeform 57">
              <a:extLst>
                <a:ext uri="{FF2B5EF4-FFF2-40B4-BE49-F238E27FC236}">
                  <a16:creationId xmlns:a16="http://schemas.microsoft.com/office/drawing/2014/main" id="{C54B15DF-E6D7-4531-BBF7-8FF9AA9A4B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6" name="Freeform 58">
              <a:extLst>
                <a:ext uri="{FF2B5EF4-FFF2-40B4-BE49-F238E27FC236}">
                  <a16:creationId xmlns:a16="http://schemas.microsoft.com/office/drawing/2014/main" id="{4D304613-492C-427C-A02E-E05ACE6B32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7" name="Freeform 59">
              <a:extLst>
                <a:ext uri="{FF2B5EF4-FFF2-40B4-BE49-F238E27FC236}">
                  <a16:creationId xmlns:a16="http://schemas.microsoft.com/office/drawing/2014/main" id="{52AED092-BCE9-47D3-8D39-F2C4684C61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8" name="Freeform 60">
              <a:extLst>
                <a:ext uri="{FF2B5EF4-FFF2-40B4-BE49-F238E27FC236}">
                  <a16:creationId xmlns:a16="http://schemas.microsoft.com/office/drawing/2014/main" id="{E9BCC919-A30E-4FA5-91D6-D4CA02EF09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9" name="Freeform 61">
              <a:extLst>
                <a:ext uri="{FF2B5EF4-FFF2-40B4-BE49-F238E27FC236}">
                  <a16:creationId xmlns:a16="http://schemas.microsoft.com/office/drawing/2014/main" id="{6CFE3E2A-8488-4AFD-ABAE-938C82F379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0" name="Freeform 62">
              <a:extLst>
                <a:ext uri="{FF2B5EF4-FFF2-40B4-BE49-F238E27FC236}">
                  <a16:creationId xmlns:a16="http://schemas.microsoft.com/office/drawing/2014/main" id="{AE6E86CC-9825-414A-B885-AD3D5F84D6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</p:grpSp>
      <p:sp>
        <p:nvSpPr>
          <p:cNvPr id="67" name="Text Placeholder 140">
            <a:extLst>
              <a:ext uri="{FF2B5EF4-FFF2-40B4-BE49-F238E27FC236}">
                <a16:creationId xmlns:a16="http://schemas.microsoft.com/office/drawing/2014/main" id="{F997F199-0CF9-40C8-9EAA-1BE7B409F1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2" y="5394937"/>
            <a:ext cx="4772203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tx2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68" name="Text Placeholder 135">
            <a:extLst>
              <a:ext uri="{FF2B5EF4-FFF2-40B4-BE49-F238E27FC236}">
                <a16:creationId xmlns:a16="http://schemas.microsoft.com/office/drawing/2014/main" id="{6020C5ED-8684-4963-B702-A20B7E17D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38621079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Pres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D51BC2A-07E6-4F57-A3D0-BC904E276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65" y="395066"/>
            <a:ext cx="5400702" cy="887360"/>
          </a:xfrm>
        </p:spPr>
        <p:txBody>
          <a:bodyPr/>
          <a:lstStyle>
            <a:lvl1pPr>
              <a:defRPr lang="en-AU" dirty="0"/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2DF14112-10F2-4A1F-8E84-625C042A78A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241680" y="433468"/>
            <a:ext cx="4516849" cy="6424532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2818" t="-6998" r="-14598" b="-250"/>
            </a:stretch>
          </a:blipFill>
        </p:spPr>
        <p:txBody>
          <a:bodyPr>
            <a:normAutofit/>
          </a:bodyPr>
          <a:lstStyle>
            <a:lvl1pPr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AU" dirty="0"/>
              <a:t>Click icon to add image of presenter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EFAC858D-C943-4AF2-ADB4-A578F396684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AU" noProof="0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DD73D3F0-5814-4D17-B429-BC41662F418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16357" y="1532415"/>
            <a:ext cx="6513110" cy="4454837"/>
          </a:xfrm>
        </p:spPr>
        <p:txBody>
          <a:bodyPr/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AU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704854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4D350D-E484-4913-8199-EB8C83FA4F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6357" y="1532415"/>
            <a:ext cx="6326669" cy="4459190"/>
          </a:xfrm>
        </p:spPr>
        <p:txBody>
          <a:bodyPr numCol="1" spcCol="36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2293B1-CA6A-4F4E-91FF-99F08DA214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29159" y="433469"/>
            <a:ext cx="4829371" cy="573903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D51BC2A-07E6-4F57-A3D0-BC904E276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65" y="395066"/>
            <a:ext cx="5214261" cy="8873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C0ED71-D102-4A47-8D49-527E513DAA1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AU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A6974CE-5775-4767-8B2D-E006DC5555F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AU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97E5B4-99B2-4696-8ED1-B7AB1747A2A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C22DD25-61AE-413C-B4D2-EF2365C9B2E1}" type="slidenum">
              <a:rPr lang="en-AU" noProof="0" smtClean="0"/>
              <a:pPr/>
              <a:t>‹#›</a:t>
            </a:fld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2632943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4D350D-E484-4913-8199-EB8C83FA4F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6357" y="1532415"/>
            <a:ext cx="6326669" cy="4459190"/>
          </a:xfrm>
        </p:spPr>
        <p:txBody>
          <a:bodyPr numCol="1" spcCol="36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2293B1-CA6A-4F4E-91FF-99F08DA214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29160" y="433470"/>
            <a:ext cx="4829370" cy="2789708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68" name="Picture Placeholder 8">
            <a:extLst>
              <a:ext uri="{FF2B5EF4-FFF2-40B4-BE49-F238E27FC236}">
                <a16:creationId xmlns:a16="http://schemas.microsoft.com/office/drawing/2014/main" id="{7F567229-93F4-4028-9012-070DD0F840A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29159" y="3385373"/>
            <a:ext cx="4829371" cy="2787128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EFDF54-79BF-4A62-9A89-30BB4DEA2C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65" y="395066"/>
            <a:ext cx="5214261" cy="8873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136EA4-84ED-4506-A242-5F0C906222B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AU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D72EC5-4F70-48F3-89D4-91D2D67BE51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AU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10718A-D70B-4A4B-A26A-0BF5E34D006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C22DD25-61AE-413C-B4D2-EF2365C9B2E1}" type="slidenum">
              <a:rPr lang="en-AU" noProof="0" smtClean="0"/>
              <a:pPr/>
              <a:t>‹#›</a:t>
            </a:fld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41331653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2A85445C-DF4B-4BAF-BA3E-2C7E13C6966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929159" y="3385373"/>
            <a:ext cx="4829371" cy="2787128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4D350D-E484-4913-8199-EB8C83FA4F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6357" y="1532415"/>
            <a:ext cx="6326669" cy="4459190"/>
          </a:xfrm>
        </p:spPr>
        <p:txBody>
          <a:bodyPr numCol="1" spcCol="36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2293B1-CA6A-4F4E-91FF-99F08DA214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29160" y="433469"/>
            <a:ext cx="2340000" cy="278970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69" name="Picture Placeholder 8">
            <a:extLst>
              <a:ext uri="{FF2B5EF4-FFF2-40B4-BE49-F238E27FC236}">
                <a16:creationId xmlns:a16="http://schemas.microsoft.com/office/drawing/2014/main" id="{6216071A-78A2-4FC2-B4B9-1FB87C0B305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465648" y="433469"/>
            <a:ext cx="2292882" cy="278970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A715146-2554-48EE-B19F-EB08682D4D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65" y="395066"/>
            <a:ext cx="5214261" cy="8873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7FBC23-2E1D-42B9-B06F-441D2E530D6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AU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FBB8C37-F6A7-408B-AED7-05A293BD9B5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AU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17EB9A-C91F-4B28-8363-238C69D8FF4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C22DD25-61AE-413C-B4D2-EF2365C9B2E1}" type="slidenum">
              <a:rPr lang="en-AU" noProof="0" smtClean="0"/>
              <a:pPr/>
              <a:t>‹#›</a:t>
            </a:fld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23402524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E0A0B3FD-4538-4369-83B6-70C4DFCECFF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929159" y="3385373"/>
            <a:ext cx="4829371" cy="2787128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B2A43BD1-0F4A-4FE6-96C0-15FBFE85BD1F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929160" y="433469"/>
            <a:ext cx="2340000" cy="278970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4D350D-E484-4913-8199-EB8C83FA4F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6357" y="1532415"/>
            <a:ext cx="6326669" cy="4459190"/>
          </a:xfrm>
        </p:spPr>
        <p:txBody>
          <a:bodyPr numCol="1" spcCol="36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69" name="Picture Placeholder 8">
            <a:extLst>
              <a:ext uri="{FF2B5EF4-FFF2-40B4-BE49-F238E27FC236}">
                <a16:creationId xmlns:a16="http://schemas.microsoft.com/office/drawing/2014/main" id="{6216071A-78A2-4FC2-B4B9-1FB87C0B305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456458" y="433469"/>
            <a:ext cx="2302072" cy="133183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70" name="Picture Placeholder 8">
            <a:extLst>
              <a:ext uri="{FF2B5EF4-FFF2-40B4-BE49-F238E27FC236}">
                <a16:creationId xmlns:a16="http://schemas.microsoft.com/office/drawing/2014/main" id="{FA4A79D4-E349-4EBC-AEB1-516796BF6A3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456458" y="1953366"/>
            <a:ext cx="2302072" cy="127350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B543F44-FB67-4998-BE74-154B2E107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65" y="395066"/>
            <a:ext cx="5214261" cy="8873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12DDF1-862D-4D1D-A8F8-0AA91E60F74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AU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895DF14-2515-429C-B3CC-7063B560D42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AU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923CC6-05EA-4B5E-8619-45B5D426CFF2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DC22DD25-61AE-413C-B4D2-EF2365C9B2E1}" type="slidenum">
              <a:rPr lang="en-AU" noProof="0" smtClean="0"/>
              <a:pPr/>
              <a:t>‹#›</a:t>
            </a:fld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7526296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F749F30-B44D-43F1-B0D5-603E1F271B81}"/>
              </a:ext>
            </a:extLst>
          </p:cNvPr>
          <p:cNvSpPr/>
          <p:nvPr userDrawn="1"/>
        </p:nvSpPr>
        <p:spPr>
          <a:xfrm>
            <a:off x="10839546" y="101089"/>
            <a:ext cx="1245238" cy="13647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2293B1-CA6A-4F4E-91FF-99F08DA214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3470" y="433470"/>
            <a:ext cx="11325062" cy="5991061"/>
          </a:xfrm>
          <a:solidFill>
            <a:schemeClr val="bg1">
              <a:lumMod val="85000"/>
            </a:schemeClr>
          </a:solidFill>
        </p:spPr>
        <p:txBody>
          <a:bodyPr lIns="936000" tIns="180000" rIns="180000" bIns="180000">
            <a:normAutofit/>
          </a:bodyPr>
          <a:lstStyle>
            <a:lvl1pPr algn="l"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128" name="Text Placeholder 135">
            <a:extLst>
              <a:ext uri="{FF2B5EF4-FFF2-40B4-BE49-F238E27FC236}">
                <a16:creationId xmlns:a16="http://schemas.microsoft.com/office/drawing/2014/main" id="{0C3C7B2F-708A-4AE4-81D4-A81DA4A14F40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33470" y="433470"/>
            <a:ext cx="720000" cy="720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200">
                <a:solidFill>
                  <a:schemeClr val="tx2"/>
                </a:solidFill>
              </a:defRPr>
            </a:lvl1pPr>
            <a:lvl2pPr marL="0" indent="0">
              <a:defRPr sz="200">
                <a:solidFill>
                  <a:schemeClr val="tx2"/>
                </a:solidFill>
              </a:defRPr>
            </a:lvl2pPr>
            <a:lvl3pPr marL="0" indent="0">
              <a:defRPr sz="200">
                <a:solidFill>
                  <a:schemeClr val="tx2"/>
                </a:solidFill>
              </a:defRPr>
            </a:lvl3pPr>
            <a:lvl4pPr>
              <a:defRPr sz="200">
                <a:solidFill>
                  <a:schemeClr val="tx2"/>
                </a:solidFill>
              </a:defRPr>
            </a:lvl4pPr>
            <a:lvl5pPr>
              <a:defRPr sz="200">
                <a:solidFill>
                  <a:schemeClr val="tx2"/>
                </a:solidFill>
              </a:defRPr>
            </a:lvl5pPr>
            <a:lvl6pPr>
              <a:defRPr sz="200">
                <a:solidFill>
                  <a:schemeClr val="tx2"/>
                </a:solidFill>
              </a:defRPr>
            </a:lvl6pPr>
            <a:lvl7pPr>
              <a:defRPr sz="200">
                <a:solidFill>
                  <a:schemeClr val="tx2"/>
                </a:solidFill>
              </a:defRPr>
            </a:lvl7pPr>
            <a:lvl8pPr>
              <a:defRPr sz="200">
                <a:solidFill>
                  <a:schemeClr val="tx2"/>
                </a:solidFill>
              </a:defRPr>
            </a:lvl8pPr>
            <a:lvl9pPr>
              <a:defRPr sz="2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/>
              <a:t>       </a:t>
            </a:r>
          </a:p>
        </p:txBody>
      </p:sp>
      <p:sp>
        <p:nvSpPr>
          <p:cNvPr id="129" name="Text Placeholder 140">
            <a:extLst>
              <a:ext uri="{FF2B5EF4-FFF2-40B4-BE49-F238E27FC236}">
                <a16:creationId xmlns:a16="http://schemas.microsoft.com/office/drawing/2014/main" id="{74E4AFED-1C0E-4349-B4D8-561973586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13784" y="2007045"/>
            <a:ext cx="2965787" cy="826466"/>
          </a:xfrm>
        </p:spPr>
        <p:txBody>
          <a:bodyPr/>
          <a:lstStyle>
            <a:lvl1pPr>
              <a:spcBef>
                <a:spcPts val="500"/>
              </a:spcBef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 sz="2000">
                <a:solidFill>
                  <a:schemeClr val="bg1"/>
                </a:solidFill>
              </a:defRPr>
            </a:lvl2pPr>
            <a:lvl3pPr marL="0" indent="0">
              <a:buNone/>
              <a:defRPr sz="2000" b="0">
                <a:solidFill>
                  <a:schemeClr val="bg1"/>
                </a:solidFill>
              </a:defRPr>
            </a:lvl3pPr>
            <a:lvl4pPr>
              <a:defRPr sz="2000" b="0">
                <a:solidFill>
                  <a:schemeClr val="bg1"/>
                </a:solidFill>
              </a:defRPr>
            </a:lvl4pPr>
            <a:lvl5pPr>
              <a:defRPr sz="2000" b="0">
                <a:solidFill>
                  <a:schemeClr val="bg1"/>
                </a:solidFill>
              </a:defRPr>
            </a:lvl5pPr>
            <a:lvl6pPr>
              <a:defRPr sz="2000" b="0">
                <a:solidFill>
                  <a:schemeClr val="bg1"/>
                </a:solidFill>
              </a:defRPr>
            </a:lvl6pPr>
            <a:lvl7pPr>
              <a:defRPr sz="2000" b="0">
                <a:solidFill>
                  <a:schemeClr val="bg1"/>
                </a:solidFill>
              </a:defRPr>
            </a:lvl7pPr>
            <a:lvl8pPr>
              <a:defRPr sz="2000">
                <a:solidFill>
                  <a:schemeClr val="bg1"/>
                </a:solidFill>
              </a:defRPr>
            </a:lvl8pPr>
            <a:lvl9pPr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en-AU" noProof="0" dirty="0"/>
              <a:t>Use this for dark images</a:t>
            </a:r>
          </a:p>
          <a:p>
            <a:pPr lvl="0"/>
            <a:r>
              <a:rPr lang="en-AU" noProof="0" dirty="0"/>
              <a:t>Edit Master text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131" name="Text Placeholder 140">
            <a:extLst>
              <a:ext uri="{FF2B5EF4-FFF2-40B4-BE49-F238E27FC236}">
                <a16:creationId xmlns:a16="http://schemas.microsoft.com/office/drawing/2014/main" id="{3990CB9E-67EF-4DD1-AF68-044AF2AC02B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5656" y="2007045"/>
            <a:ext cx="2965787" cy="826466"/>
          </a:xfrm>
        </p:spPr>
        <p:txBody>
          <a:bodyPr/>
          <a:lstStyle>
            <a:lvl1pPr>
              <a:spcBef>
                <a:spcPts val="500"/>
              </a:spcBef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sz="2000">
                <a:solidFill>
                  <a:schemeClr val="tx2"/>
                </a:solidFill>
              </a:defRPr>
            </a:lvl2pPr>
            <a:lvl3pPr marL="0" indent="0">
              <a:buNone/>
              <a:defRPr sz="2000" b="0">
                <a:solidFill>
                  <a:schemeClr val="tx2"/>
                </a:solidFill>
              </a:defRPr>
            </a:lvl3pPr>
            <a:lvl4pPr>
              <a:defRPr sz="2000" b="0">
                <a:solidFill>
                  <a:schemeClr val="tx2"/>
                </a:solidFill>
              </a:defRPr>
            </a:lvl4pPr>
            <a:lvl5pPr>
              <a:defRPr sz="2000" b="0">
                <a:solidFill>
                  <a:schemeClr val="tx2"/>
                </a:solidFill>
              </a:defRPr>
            </a:lvl5pPr>
            <a:lvl6pPr>
              <a:defRPr sz="2000" b="0">
                <a:solidFill>
                  <a:schemeClr val="tx2"/>
                </a:solidFill>
              </a:defRPr>
            </a:lvl6pPr>
            <a:lvl7pPr>
              <a:defRPr sz="2000" b="0">
                <a:solidFill>
                  <a:schemeClr val="tx2"/>
                </a:solidFill>
              </a:defRPr>
            </a:lvl7pPr>
            <a:lvl8pPr>
              <a:defRPr sz="2000">
                <a:solidFill>
                  <a:schemeClr val="tx2"/>
                </a:solidFill>
              </a:defRPr>
            </a:lvl8pPr>
            <a:lvl9pPr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 dirty="0"/>
              <a:t>Use this for light images</a:t>
            </a:r>
            <a:br>
              <a:rPr lang="en-AU" noProof="0" dirty="0"/>
            </a:br>
            <a:r>
              <a:rPr lang="en-AU" noProof="0" dirty="0"/>
              <a:t>Edit Master text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52462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A3F1C04-3200-4425-86D0-2F9E2EAC9EF4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39" name="Picture Placeholder 138">
            <a:extLst>
              <a:ext uri="{FF2B5EF4-FFF2-40B4-BE49-F238E27FC236}">
                <a16:creationId xmlns:a16="http://schemas.microsoft.com/office/drawing/2014/main" id="{D87FD7A2-8AF9-450B-AA84-809A435321D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2241" y="1030147"/>
            <a:ext cx="5919758" cy="5825419"/>
          </a:xfrm>
          <a:custGeom>
            <a:avLst/>
            <a:gdLst>
              <a:gd name="connsiteX0" fmla="*/ 5919758 w 5919758"/>
              <a:gd name="connsiteY0" fmla="*/ 0 h 5825419"/>
              <a:gd name="connsiteX1" fmla="*/ 5919758 w 5919758"/>
              <a:gd name="connsiteY1" fmla="*/ 5825419 h 5825419"/>
              <a:gd name="connsiteX2" fmla="*/ 1120273 w 5919758"/>
              <a:gd name="connsiteY2" fmla="*/ 5825419 h 5825419"/>
              <a:gd name="connsiteX3" fmla="*/ 0 w 5919758"/>
              <a:gd name="connsiteY3" fmla="*/ 1588036 h 582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9758" h="5825419">
                <a:moveTo>
                  <a:pt x="5919758" y="0"/>
                </a:moveTo>
                <a:lnTo>
                  <a:pt x="5919758" y="5825419"/>
                </a:lnTo>
                <a:lnTo>
                  <a:pt x="1120273" y="5825419"/>
                </a:lnTo>
                <a:lnTo>
                  <a:pt x="0" y="1588036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360000" tIns="360000" rIns="360000" bIns="360000">
            <a:noAutofit/>
          </a:bodyPr>
          <a:lstStyle>
            <a:lvl1pPr algn="r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AU" noProof="0"/>
              <a:t>  </a:t>
            </a:r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3522183"/>
            <a:ext cx="4772203" cy="1227635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Bef>
                <a:spcPts val="50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  <a:latin typeface="+mn-lt"/>
              </a:defRPr>
            </a:lvl1pPr>
            <a:lvl2pPr marL="0" indent="0" algn="l">
              <a:spcBef>
                <a:spcPts val="500"/>
              </a:spcBef>
              <a:buNone/>
              <a:defRPr sz="2000" b="0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sub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196D528-3F8C-4131-B8C8-D41C96117732}"/>
              </a:ext>
            </a:extLst>
          </p:cNvPr>
          <p:cNvSpPr txBox="1"/>
          <p:nvPr userDrawn="1"/>
        </p:nvSpPr>
        <p:spPr>
          <a:xfrm>
            <a:off x="514871" y="2525876"/>
            <a:ext cx="3164224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38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Thank you</a:t>
            </a:r>
          </a:p>
        </p:txBody>
      </p:sp>
      <p:sp>
        <p:nvSpPr>
          <p:cNvPr id="68" name="Text Placeholder 140">
            <a:extLst>
              <a:ext uri="{FF2B5EF4-FFF2-40B4-BE49-F238E27FC236}">
                <a16:creationId xmlns:a16="http://schemas.microsoft.com/office/drawing/2014/main" id="{0240AC5B-4C6A-426A-B2D7-877F8935F4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3" y="5394937"/>
            <a:ext cx="4772202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bg1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69" name="Text Placeholder 135">
            <a:extLst>
              <a:ext uri="{FF2B5EF4-FFF2-40B4-BE49-F238E27FC236}">
                <a16:creationId xmlns:a16="http://schemas.microsoft.com/office/drawing/2014/main" id="{E5A84B8F-F202-4882-842F-83827F0172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  <p:grpSp>
        <p:nvGrpSpPr>
          <p:cNvPr id="70" name="Group 4">
            <a:extLst>
              <a:ext uri="{FF2B5EF4-FFF2-40B4-BE49-F238E27FC236}">
                <a16:creationId xmlns:a16="http://schemas.microsoft.com/office/drawing/2014/main" id="{EC37A7B2-975C-4770-92F5-8992CA55725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21066" y="453777"/>
            <a:ext cx="1662286" cy="1666547"/>
            <a:chOff x="2864" y="1181"/>
            <a:chExt cx="1952" cy="1957"/>
          </a:xfrm>
          <a:blipFill>
            <a:blip r:embed="rId3"/>
            <a:stretch>
              <a:fillRect/>
            </a:stretch>
          </a:blipFill>
        </p:grpSpPr>
        <p:sp>
          <p:nvSpPr>
            <p:cNvPr id="71" name="AutoShape 3">
              <a:extLst>
                <a:ext uri="{FF2B5EF4-FFF2-40B4-BE49-F238E27FC236}">
                  <a16:creationId xmlns:a16="http://schemas.microsoft.com/office/drawing/2014/main" id="{54F552E3-D38D-41BC-82E3-60C997948365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2" name="Rectangle 5">
              <a:extLst>
                <a:ext uri="{FF2B5EF4-FFF2-40B4-BE49-F238E27FC236}">
                  <a16:creationId xmlns:a16="http://schemas.microsoft.com/office/drawing/2014/main" id="{569FA1AE-C9C3-462F-A77A-B6BBCF918C9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3" name="Freeform 6">
              <a:extLst>
                <a:ext uri="{FF2B5EF4-FFF2-40B4-BE49-F238E27FC236}">
                  <a16:creationId xmlns:a16="http://schemas.microsoft.com/office/drawing/2014/main" id="{6DB2EA32-9261-498B-830E-2FBDFA157F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4" name="Freeform 7">
              <a:extLst>
                <a:ext uri="{FF2B5EF4-FFF2-40B4-BE49-F238E27FC236}">
                  <a16:creationId xmlns:a16="http://schemas.microsoft.com/office/drawing/2014/main" id="{EFF73E3A-06C3-4974-93E2-696040A897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5" name="Freeform 8">
              <a:extLst>
                <a:ext uri="{FF2B5EF4-FFF2-40B4-BE49-F238E27FC236}">
                  <a16:creationId xmlns:a16="http://schemas.microsoft.com/office/drawing/2014/main" id="{C4DC2C60-02AB-49AD-B3DD-BBCF7166C8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6" name="Freeform 9">
              <a:extLst>
                <a:ext uri="{FF2B5EF4-FFF2-40B4-BE49-F238E27FC236}">
                  <a16:creationId xmlns:a16="http://schemas.microsoft.com/office/drawing/2014/main" id="{30961497-8835-4080-AFE2-534351DE26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7" name="Freeform 10">
              <a:extLst>
                <a:ext uri="{FF2B5EF4-FFF2-40B4-BE49-F238E27FC236}">
                  <a16:creationId xmlns:a16="http://schemas.microsoft.com/office/drawing/2014/main" id="{E68F9C23-752D-42BE-A4E5-9B68536CDF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8" name="Freeform 11">
              <a:extLst>
                <a:ext uri="{FF2B5EF4-FFF2-40B4-BE49-F238E27FC236}">
                  <a16:creationId xmlns:a16="http://schemas.microsoft.com/office/drawing/2014/main" id="{13FC5098-8507-4098-93FB-F2624FFC64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37" name="Freeform 12">
              <a:extLst>
                <a:ext uri="{FF2B5EF4-FFF2-40B4-BE49-F238E27FC236}">
                  <a16:creationId xmlns:a16="http://schemas.microsoft.com/office/drawing/2014/main" id="{7E5888E8-4F68-4921-8A2B-AEC299F6A1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1" name="Freeform 13">
              <a:extLst>
                <a:ext uri="{FF2B5EF4-FFF2-40B4-BE49-F238E27FC236}">
                  <a16:creationId xmlns:a16="http://schemas.microsoft.com/office/drawing/2014/main" id="{B67C5942-8CB4-499B-AA8B-12470AC8A7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2" name="Freeform 14">
              <a:extLst>
                <a:ext uri="{FF2B5EF4-FFF2-40B4-BE49-F238E27FC236}">
                  <a16:creationId xmlns:a16="http://schemas.microsoft.com/office/drawing/2014/main" id="{7AD189ED-F890-4E02-8D27-6A3CE264891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3" name="Freeform 15">
              <a:extLst>
                <a:ext uri="{FF2B5EF4-FFF2-40B4-BE49-F238E27FC236}">
                  <a16:creationId xmlns:a16="http://schemas.microsoft.com/office/drawing/2014/main" id="{A694629D-32D1-4504-B143-297920522C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4" name="Freeform 16">
              <a:extLst>
                <a:ext uri="{FF2B5EF4-FFF2-40B4-BE49-F238E27FC236}">
                  <a16:creationId xmlns:a16="http://schemas.microsoft.com/office/drawing/2014/main" id="{2412EA18-A215-4DFD-A0A6-2AD409F481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5" name="Freeform 17">
              <a:extLst>
                <a:ext uri="{FF2B5EF4-FFF2-40B4-BE49-F238E27FC236}">
                  <a16:creationId xmlns:a16="http://schemas.microsoft.com/office/drawing/2014/main" id="{C4E0E6D7-A2DC-410B-9822-C2D716A99A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6" name="Freeform 18">
              <a:extLst>
                <a:ext uri="{FF2B5EF4-FFF2-40B4-BE49-F238E27FC236}">
                  <a16:creationId xmlns:a16="http://schemas.microsoft.com/office/drawing/2014/main" id="{D7B7983B-BA78-4770-8F07-998CF704FD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7" name="Freeform 19">
              <a:extLst>
                <a:ext uri="{FF2B5EF4-FFF2-40B4-BE49-F238E27FC236}">
                  <a16:creationId xmlns:a16="http://schemas.microsoft.com/office/drawing/2014/main" id="{A748B14A-0908-4434-A2E9-F3E4992B20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8" name="Freeform 20">
              <a:extLst>
                <a:ext uri="{FF2B5EF4-FFF2-40B4-BE49-F238E27FC236}">
                  <a16:creationId xmlns:a16="http://schemas.microsoft.com/office/drawing/2014/main" id="{9A723747-6853-43C4-AAB4-C1C0C93D99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9" name="Rectangle 21">
              <a:extLst>
                <a:ext uri="{FF2B5EF4-FFF2-40B4-BE49-F238E27FC236}">
                  <a16:creationId xmlns:a16="http://schemas.microsoft.com/office/drawing/2014/main" id="{135592F9-D2BB-451E-96FF-092A1EE1A3B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0" name="Freeform 22">
              <a:extLst>
                <a:ext uri="{FF2B5EF4-FFF2-40B4-BE49-F238E27FC236}">
                  <a16:creationId xmlns:a16="http://schemas.microsoft.com/office/drawing/2014/main" id="{745670F2-51EA-4EA7-A414-FB609C350E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1" name="Freeform 23">
              <a:extLst>
                <a:ext uri="{FF2B5EF4-FFF2-40B4-BE49-F238E27FC236}">
                  <a16:creationId xmlns:a16="http://schemas.microsoft.com/office/drawing/2014/main" id="{99B68E36-21CB-49F9-8DAA-F892BB3F77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2" name="Freeform 24">
              <a:extLst>
                <a:ext uri="{FF2B5EF4-FFF2-40B4-BE49-F238E27FC236}">
                  <a16:creationId xmlns:a16="http://schemas.microsoft.com/office/drawing/2014/main" id="{F07D88E7-14BD-4576-AC88-8D241E6B93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3" name="Freeform 25">
              <a:extLst>
                <a:ext uri="{FF2B5EF4-FFF2-40B4-BE49-F238E27FC236}">
                  <a16:creationId xmlns:a16="http://schemas.microsoft.com/office/drawing/2014/main" id="{BCAAAD9F-0A1F-49A6-A4DE-A5A523C546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4" name="Freeform 26">
              <a:extLst>
                <a:ext uri="{FF2B5EF4-FFF2-40B4-BE49-F238E27FC236}">
                  <a16:creationId xmlns:a16="http://schemas.microsoft.com/office/drawing/2014/main" id="{DA1B6F50-51ED-4149-9C09-11E80089776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5" name="Freeform 27">
              <a:extLst>
                <a:ext uri="{FF2B5EF4-FFF2-40B4-BE49-F238E27FC236}">
                  <a16:creationId xmlns:a16="http://schemas.microsoft.com/office/drawing/2014/main" id="{0AC74EF2-F419-4368-912E-71A0EA81D8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6" name="Freeform 28">
              <a:extLst>
                <a:ext uri="{FF2B5EF4-FFF2-40B4-BE49-F238E27FC236}">
                  <a16:creationId xmlns:a16="http://schemas.microsoft.com/office/drawing/2014/main" id="{1C171149-6E4E-4D78-AB93-8E367FDD9F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7" name="Freeform 29">
              <a:extLst>
                <a:ext uri="{FF2B5EF4-FFF2-40B4-BE49-F238E27FC236}">
                  <a16:creationId xmlns:a16="http://schemas.microsoft.com/office/drawing/2014/main" id="{A815DF7B-E424-42AB-A6AB-634DA40688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8" name="Freeform 30">
              <a:extLst>
                <a:ext uri="{FF2B5EF4-FFF2-40B4-BE49-F238E27FC236}">
                  <a16:creationId xmlns:a16="http://schemas.microsoft.com/office/drawing/2014/main" id="{66BD8C37-8BC5-45CD-B87D-5AFE1A70DC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9" name="Freeform 31">
              <a:extLst>
                <a:ext uri="{FF2B5EF4-FFF2-40B4-BE49-F238E27FC236}">
                  <a16:creationId xmlns:a16="http://schemas.microsoft.com/office/drawing/2014/main" id="{2CEB33A3-B63A-4808-96DD-C5F24BF9AC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0" name="Freeform 32">
              <a:extLst>
                <a:ext uri="{FF2B5EF4-FFF2-40B4-BE49-F238E27FC236}">
                  <a16:creationId xmlns:a16="http://schemas.microsoft.com/office/drawing/2014/main" id="{C313A88E-E4EB-47A3-9504-3CBEC9DA296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1" name="Freeform 34">
              <a:extLst>
                <a:ext uri="{FF2B5EF4-FFF2-40B4-BE49-F238E27FC236}">
                  <a16:creationId xmlns:a16="http://schemas.microsoft.com/office/drawing/2014/main" id="{56F05306-E858-4AD6-9044-0829EB27D9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2" name="Freeform 35">
              <a:extLst>
                <a:ext uri="{FF2B5EF4-FFF2-40B4-BE49-F238E27FC236}">
                  <a16:creationId xmlns:a16="http://schemas.microsoft.com/office/drawing/2014/main" id="{32901447-608B-4121-B7E4-6FCEAEA250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3" name="Freeform 36">
              <a:extLst>
                <a:ext uri="{FF2B5EF4-FFF2-40B4-BE49-F238E27FC236}">
                  <a16:creationId xmlns:a16="http://schemas.microsoft.com/office/drawing/2014/main" id="{39190006-5196-47DB-99AE-94D3B7F04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4" name="Freeform 37">
              <a:extLst>
                <a:ext uri="{FF2B5EF4-FFF2-40B4-BE49-F238E27FC236}">
                  <a16:creationId xmlns:a16="http://schemas.microsoft.com/office/drawing/2014/main" id="{8604054B-C93B-45A8-AB0E-E434861452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5" name="Freeform 38">
              <a:extLst>
                <a:ext uri="{FF2B5EF4-FFF2-40B4-BE49-F238E27FC236}">
                  <a16:creationId xmlns:a16="http://schemas.microsoft.com/office/drawing/2014/main" id="{D0EFF960-9F83-4FFE-BF82-B52577442D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6" name="Freeform 39">
              <a:extLst>
                <a:ext uri="{FF2B5EF4-FFF2-40B4-BE49-F238E27FC236}">
                  <a16:creationId xmlns:a16="http://schemas.microsoft.com/office/drawing/2014/main" id="{99D3D888-B3BA-4D97-B256-1108E2C3F2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7" name="Freeform 40">
              <a:extLst>
                <a:ext uri="{FF2B5EF4-FFF2-40B4-BE49-F238E27FC236}">
                  <a16:creationId xmlns:a16="http://schemas.microsoft.com/office/drawing/2014/main" id="{7F59FA3C-1276-422B-80A8-04EF5B7FFB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8" name="Freeform 41">
              <a:extLst>
                <a:ext uri="{FF2B5EF4-FFF2-40B4-BE49-F238E27FC236}">
                  <a16:creationId xmlns:a16="http://schemas.microsoft.com/office/drawing/2014/main" id="{0F1A5475-0A1C-4B1A-97EC-5E3CD80675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9" name="Freeform 42">
              <a:extLst>
                <a:ext uri="{FF2B5EF4-FFF2-40B4-BE49-F238E27FC236}">
                  <a16:creationId xmlns:a16="http://schemas.microsoft.com/office/drawing/2014/main" id="{A3DDBAEE-DF7C-4EC8-94DD-05D69B1CDE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0" name="Freeform 43">
              <a:extLst>
                <a:ext uri="{FF2B5EF4-FFF2-40B4-BE49-F238E27FC236}">
                  <a16:creationId xmlns:a16="http://schemas.microsoft.com/office/drawing/2014/main" id="{D5F93DF4-E313-489C-8E2A-B483A92DE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1" name="Freeform 44">
              <a:extLst>
                <a:ext uri="{FF2B5EF4-FFF2-40B4-BE49-F238E27FC236}">
                  <a16:creationId xmlns:a16="http://schemas.microsoft.com/office/drawing/2014/main" id="{4DC15CBD-9941-4E37-A8B4-F231D3B31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2" name="Freeform 45">
              <a:extLst>
                <a:ext uri="{FF2B5EF4-FFF2-40B4-BE49-F238E27FC236}">
                  <a16:creationId xmlns:a16="http://schemas.microsoft.com/office/drawing/2014/main" id="{9ADB481C-21A1-49F8-ACE4-4CD0729D92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3" name="Freeform 46">
              <a:extLst>
                <a:ext uri="{FF2B5EF4-FFF2-40B4-BE49-F238E27FC236}">
                  <a16:creationId xmlns:a16="http://schemas.microsoft.com/office/drawing/2014/main" id="{E4D2031E-0A6F-4C49-9ED4-AB51D06F0F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4" name="Freeform 47">
              <a:extLst>
                <a:ext uri="{FF2B5EF4-FFF2-40B4-BE49-F238E27FC236}">
                  <a16:creationId xmlns:a16="http://schemas.microsoft.com/office/drawing/2014/main" id="{C44C9E42-3F3B-4C13-A2DA-02F22BA28A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5" name="Freeform 48">
              <a:extLst>
                <a:ext uri="{FF2B5EF4-FFF2-40B4-BE49-F238E27FC236}">
                  <a16:creationId xmlns:a16="http://schemas.microsoft.com/office/drawing/2014/main" id="{01353E56-76A6-4F6D-B228-D349DD153D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6" name="Freeform 49">
              <a:extLst>
                <a:ext uri="{FF2B5EF4-FFF2-40B4-BE49-F238E27FC236}">
                  <a16:creationId xmlns:a16="http://schemas.microsoft.com/office/drawing/2014/main" id="{61622A06-0465-4E80-BE10-ABA3B3FE3D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7" name="Freeform 50">
              <a:extLst>
                <a:ext uri="{FF2B5EF4-FFF2-40B4-BE49-F238E27FC236}">
                  <a16:creationId xmlns:a16="http://schemas.microsoft.com/office/drawing/2014/main" id="{87927BE2-A3FC-4F6C-B8B1-028431DC6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8" name="Freeform 51">
              <a:extLst>
                <a:ext uri="{FF2B5EF4-FFF2-40B4-BE49-F238E27FC236}">
                  <a16:creationId xmlns:a16="http://schemas.microsoft.com/office/drawing/2014/main" id="{9AB4F4C4-EA49-4CC5-B240-860DE380C3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9" name="Freeform 52">
              <a:extLst>
                <a:ext uri="{FF2B5EF4-FFF2-40B4-BE49-F238E27FC236}">
                  <a16:creationId xmlns:a16="http://schemas.microsoft.com/office/drawing/2014/main" id="{357BA5D2-76BC-4D95-9315-2DE8D62D55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0" name="Freeform 53">
              <a:extLst>
                <a:ext uri="{FF2B5EF4-FFF2-40B4-BE49-F238E27FC236}">
                  <a16:creationId xmlns:a16="http://schemas.microsoft.com/office/drawing/2014/main" id="{DCED355D-42FD-4686-B0EF-0E3062E19E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1" name="Freeform 54">
              <a:extLst>
                <a:ext uri="{FF2B5EF4-FFF2-40B4-BE49-F238E27FC236}">
                  <a16:creationId xmlns:a16="http://schemas.microsoft.com/office/drawing/2014/main" id="{0958AEB7-DBAD-45AC-9AB2-48F0F17659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2" name="Freeform 55">
              <a:extLst>
                <a:ext uri="{FF2B5EF4-FFF2-40B4-BE49-F238E27FC236}">
                  <a16:creationId xmlns:a16="http://schemas.microsoft.com/office/drawing/2014/main" id="{D21079D7-F09E-4BC4-907F-AB73704555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3" name="Freeform 56">
              <a:extLst>
                <a:ext uri="{FF2B5EF4-FFF2-40B4-BE49-F238E27FC236}">
                  <a16:creationId xmlns:a16="http://schemas.microsoft.com/office/drawing/2014/main" id="{A704AF6D-383A-461D-9A8E-803EB90DE5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4" name="Freeform 57">
              <a:extLst>
                <a:ext uri="{FF2B5EF4-FFF2-40B4-BE49-F238E27FC236}">
                  <a16:creationId xmlns:a16="http://schemas.microsoft.com/office/drawing/2014/main" id="{FC012E4A-28D8-454A-A556-8AC6B0EB0B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5" name="Freeform 58">
              <a:extLst>
                <a:ext uri="{FF2B5EF4-FFF2-40B4-BE49-F238E27FC236}">
                  <a16:creationId xmlns:a16="http://schemas.microsoft.com/office/drawing/2014/main" id="{905E96C3-CEAF-465F-98F7-C346C851D7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6" name="Freeform 59">
              <a:extLst>
                <a:ext uri="{FF2B5EF4-FFF2-40B4-BE49-F238E27FC236}">
                  <a16:creationId xmlns:a16="http://schemas.microsoft.com/office/drawing/2014/main" id="{B96BC9E4-E5E9-4941-BC5B-77E75A08F2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7" name="Freeform 60">
              <a:extLst>
                <a:ext uri="{FF2B5EF4-FFF2-40B4-BE49-F238E27FC236}">
                  <a16:creationId xmlns:a16="http://schemas.microsoft.com/office/drawing/2014/main" id="{094DCF66-2169-4747-B305-D494F1D1B5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8" name="Freeform 61">
              <a:extLst>
                <a:ext uri="{FF2B5EF4-FFF2-40B4-BE49-F238E27FC236}">
                  <a16:creationId xmlns:a16="http://schemas.microsoft.com/office/drawing/2014/main" id="{4AEC03C8-5E0C-4AFF-AE73-885A440478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9" name="Freeform 62">
              <a:extLst>
                <a:ext uri="{FF2B5EF4-FFF2-40B4-BE49-F238E27FC236}">
                  <a16:creationId xmlns:a16="http://schemas.microsoft.com/office/drawing/2014/main" id="{2F0EA371-30C6-42A1-8D7F-5F691CCF4E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</p:grpSp>
    </p:spTree>
    <p:extLst>
      <p:ext uri="{BB962C8B-B14F-4D97-AF65-F5344CB8AC3E}">
        <p14:creationId xmlns:p14="http://schemas.microsoft.com/office/powerpoint/2010/main" val="11776138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890DF213-662F-4F0F-AF3A-12E90D6AB403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4772203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600"/>
              </a:spcAft>
              <a:buNone/>
              <a:defRPr sz="3800" b="1">
                <a:solidFill>
                  <a:schemeClr val="tx2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sp>
        <p:nvSpPr>
          <p:cNvPr id="75" name="Text Placeholder 140">
            <a:extLst>
              <a:ext uri="{FF2B5EF4-FFF2-40B4-BE49-F238E27FC236}">
                <a16:creationId xmlns:a16="http://schemas.microsoft.com/office/drawing/2014/main" id="{F8C9875D-6ED4-4691-B4EE-6BE289CEFD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2" y="5394937"/>
            <a:ext cx="4772203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tx2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10" name="Picture Placeholder 138">
            <a:extLst>
              <a:ext uri="{FF2B5EF4-FFF2-40B4-BE49-F238E27FC236}">
                <a16:creationId xmlns:a16="http://schemas.microsoft.com/office/drawing/2014/main" id="{D91BA0D4-62CE-4418-96F2-0B48EF32B9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2241" y="1030147"/>
            <a:ext cx="5919758" cy="5825419"/>
          </a:xfrm>
          <a:custGeom>
            <a:avLst/>
            <a:gdLst>
              <a:gd name="connsiteX0" fmla="*/ 5919758 w 5919758"/>
              <a:gd name="connsiteY0" fmla="*/ 0 h 5825419"/>
              <a:gd name="connsiteX1" fmla="*/ 5919758 w 5919758"/>
              <a:gd name="connsiteY1" fmla="*/ 5825419 h 5825419"/>
              <a:gd name="connsiteX2" fmla="*/ 1120273 w 5919758"/>
              <a:gd name="connsiteY2" fmla="*/ 5825419 h 5825419"/>
              <a:gd name="connsiteX3" fmla="*/ 0 w 5919758"/>
              <a:gd name="connsiteY3" fmla="*/ 1588036 h 582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9758" h="5825419">
                <a:moveTo>
                  <a:pt x="5919758" y="0"/>
                </a:moveTo>
                <a:lnTo>
                  <a:pt x="5919758" y="5825419"/>
                </a:lnTo>
                <a:lnTo>
                  <a:pt x="1120273" y="5825419"/>
                </a:lnTo>
                <a:lnTo>
                  <a:pt x="0" y="1588036"/>
                </a:lnTo>
                <a:close/>
              </a:path>
            </a:pathLst>
          </a:custGeom>
          <a:noFill/>
        </p:spPr>
        <p:txBody>
          <a:bodyPr wrap="square" lIns="576000" tIns="1728000" rIns="360000" bIns="360000">
            <a:noAutofit/>
          </a:bodyPr>
          <a:lstStyle>
            <a:lvl1pPr algn="l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AU" noProof="0" dirty="0"/>
              <a:t>Click central icon to add picture or pattern</a:t>
            </a:r>
          </a:p>
        </p:txBody>
      </p:sp>
      <p:grpSp>
        <p:nvGrpSpPr>
          <p:cNvPr id="70" name="Group 4">
            <a:extLst>
              <a:ext uri="{FF2B5EF4-FFF2-40B4-BE49-F238E27FC236}">
                <a16:creationId xmlns:a16="http://schemas.microsoft.com/office/drawing/2014/main" id="{3AFBB0F5-5EB0-405F-9812-3F6111C207C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07255" y="616633"/>
            <a:ext cx="1440000" cy="1443689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72" name="AutoShape 3">
              <a:extLst>
                <a:ext uri="{FF2B5EF4-FFF2-40B4-BE49-F238E27FC236}">
                  <a16:creationId xmlns:a16="http://schemas.microsoft.com/office/drawing/2014/main" id="{EE348DCA-F65E-472C-8E94-01A3FE818B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3" name="Rectangle 5">
              <a:extLst>
                <a:ext uri="{FF2B5EF4-FFF2-40B4-BE49-F238E27FC236}">
                  <a16:creationId xmlns:a16="http://schemas.microsoft.com/office/drawing/2014/main" id="{43ED83A1-CC4D-42EA-8ABE-37ED66A648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6" name="Freeform 6">
              <a:extLst>
                <a:ext uri="{FF2B5EF4-FFF2-40B4-BE49-F238E27FC236}">
                  <a16:creationId xmlns:a16="http://schemas.microsoft.com/office/drawing/2014/main" id="{C14D3AFF-4015-4ADB-AB21-B4EADD0CA3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7" name="Freeform 7">
              <a:extLst>
                <a:ext uri="{FF2B5EF4-FFF2-40B4-BE49-F238E27FC236}">
                  <a16:creationId xmlns:a16="http://schemas.microsoft.com/office/drawing/2014/main" id="{338B28A6-DBB6-499A-9175-D30CDBFB6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B4F42473-3AD2-48CF-9DF2-688A050792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4CFCC169-6EE2-4286-8FE4-D99450A443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0" name="Freeform 10">
              <a:extLst>
                <a:ext uri="{FF2B5EF4-FFF2-40B4-BE49-F238E27FC236}">
                  <a16:creationId xmlns:a16="http://schemas.microsoft.com/office/drawing/2014/main" id="{9D240A6C-65D8-4404-BD21-34BFC830B9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1" name="Freeform 11">
              <a:extLst>
                <a:ext uri="{FF2B5EF4-FFF2-40B4-BE49-F238E27FC236}">
                  <a16:creationId xmlns:a16="http://schemas.microsoft.com/office/drawing/2014/main" id="{D2693798-E801-4A01-899D-3526F4E679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2" name="Freeform 12">
              <a:extLst>
                <a:ext uri="{FF2B5EF4-FFF2-40B4-BE49-F238E27FC236}">
                  <a16:creationId xmlns:a16="http://schemas.microsoft.com/office/drawing/2014/main" id="{285079AC-870B-48A5-93B9-BCEBA2C149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3" name="Freeform 13">
              <a:extLst>
                <a:ext uri="{FF2B5EF4-FFF2-40B4-BE49-F238E27FC236}">
                  <a16:creationId xmlns:a16="http://schemas.microsoft.com/office/drawing/2014/main" id="{999F3F9A-C895-4189-8520-0793CCCD0B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4" name="Freeform 14">
              <a:extLst>
                <a:ext uri="{FF2B5EF4-FFF2-40B4-BE49-F238E27FC236}">
                  <a16:creationId xmlns:a16="http://schemas.microsoft.com/office/drawing/2014/main" id="{5161D696-7B40-4240-8A0E-23B94BADBC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5" name="Freeform 15">
              <a:extLst>
                <a:ext uri="{FF2B5EF4-FFF2-40B4-BE49-F238E27FC236}">
                  <a16:creationId xmlns:a16="http://schemas.microsoft.com/office/drawing/2014/main" id="{4C75893E-D358-44AC-A3CF-2EED9778A4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6" name="Freeform 16">
              <a:extLst>
                <a:ext uri="{FF2B5EF4-FFF2-40B4-BE49-F238E27FC236}">
                  <a16:creationId xmlns:a16="http://schemas.microsoft.com/office/drawing/2014/main" id="{7637E8F0-D81C-476F-8F8E-D9920CB899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7" name="Freeform 17">
              <a:extLst>
                <a:ext uri="{FF2B5EF4-FFF2-40B4-BE49-F238E27FC236}">
                  <a16:creationId xmlns:a16="http://schemas.microsoft.com/office/drawing/2014/main" id="{871A423F-334B-41DD-AB12-69F4222E2B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8" name="Freeform 18">
              <a:extLst>
                <a:ext uri="{FF2B5EF4-FFF2-40B4-BE49-F238E27FC236}">
                  <a16:creationId xmlns:a16="http://schemas.microsoft.com/office/drawing/2014/main" id="{F58C111E-E1E0-495A-B19E-19C23BC04A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9" name="Freeform 19">
              <a:extLst>
                <a:ext uri="{FF2B5EF4-FFF2-40B4-BE49-F238E27FC236}">
                  <a16:creationId xmlns:a16="http://schemas.microsoft.com/office/drawing/2014/main" id="{C13C60D4-33A1-4116-A310-C2D5DDC4EE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0" name="Freeform 20">
              <a:extLst>
                <a:ext uri="{FF2B5EF4-FFF2-40B4-BE49-F238E27FC236}">
                  <a16:creationId xmlns:a16="http://schemas.microsoft.com/office/drawing/2014/main" id="{A48538EB-0D4D-49B9-BDCF-9D922353F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1" name="Rectangle 21">
              <a:extLst>
                <a:ext uri="{FF2B5EF4-FFF2-40B4-BE49-F238E27FC236}">
                  <a16:creationId xmlns:a16="http://schemas.microsoft.com/office/drawing/2014/main" id="{1487FAD7-88D3-4A87-99A7-7B072B555F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2" name="Freeform 22">
              <a:extLst>
                <a:ext uri="{FF2B5EF4-FFF2-40B4-BE49-F238E27FC236}">
                  <a16:creationId xmlns:a16="http://schemas.microsoft.com/office/drawing/2014/main" id="{8914B577-98F3-43EF-BC4A-E7588E200C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3" name="Freeform 23">
              <a:extLst>
                <a:ext uri="{FF2B5EF4-FFF2-40B4-BE49-F238E27FC236}">
                  <a16:creationId xmlns:a16="http://schemas.microsoft.com/office/drawing/2014/main" id="{B5308D54-22FE-4DA7-BC01-ED460072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4" name="Freeform 24">
              <a:extLst>
                <a:ext uri="{FF2B5EF4-FFF2-40B4-BE49-F238E27FC236}">
                  <a16:creationId xmlns:a16="http://schemas.microsoft.com/office/drawing/2014/main" id="{3A60EE4F-D706-499A-8872-B156049D5B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5" name="Freeform 25">
              <a:extLst>
                <a:ext uri="{FF2B5EF4-FFF2-40B4-BE49-F238E27FC236}">
                  <a16:creationId xmlns:a16="http://schemas.microsoft.com/office/drawing/2014/main" id="{3EAF6B99-79B4-43B1-842F-B1AFF0CC1E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6" name="Freeform 26">
              <a:extLst>
                <a:ext uri="{FF2B5EF4-FFF2-40B4-BE49-F238E27FC236}">
                  <a16:creationId xmlns:a16="http://schemas.microsoft.com/office/drawing/2014/main" id="{6C79F926-94C7-4522-9614-397593F62E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7" name="Freeform 27">
              <a:extLst>
                <a:ext uri="{FF2B5EF4-FFF2-40B4-BE49-F238E27FC236}">
                  <a16:creationId xmlns:a16="http://schemas.microsoft.com/office/drawing/2014/main" id="{FDD151CA-6BF4-4036-98ED-05B831B530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8" name="Freeform 28">
              <a:extLst>
                <a:ext uri="{FF2B5EF4-FFF2-40B4-BE49-F238E27FC236}">
                  <a16:creationId xmlns:a16="http://schemas.microsoft.com/office/drawing/2014/main" id="{AB448DEB-E490-4038-8414-1A68B9109C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524059C3-D356-4C34-9C06-DD896588BF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247D07C2-EC7B-4730-92FA-6B8D84B80D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5D6F08FA-2532-4558-9602-AF1744F99F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E685EBE7-869E-41B0-BCD8-FF537CBD5C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3" name="Freeform 34">
              <a:extLst>
                <a:ext uri="{FF2B5EF4-FFF2-40B4-BE49-F238E27FC236}">
                  <a16:creationId xmlns:a16="http://schemas.microsoft.com/office/drawing/2014/main" id="{C3AB8B41-7BD9-44AA-B986-74D53C9AF3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4" name="Freeform 35">
              <a:extLst>
                <a:ext uri="{FF2B5EF4-FFF2-40B4-BE49-F238E27FC236}">
                  <a16:creationId xmlns:a16="http://schemas.microsoft.com/office/drawing/2014/main" id="{EDE8817E-73C2-4561-8428-03CCAFF40C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5" name="Freeform 36">
              <a:extLst>
                <a:ext uri="{FF2B5EF4-FFF2-40B4-BE49-F238E27FC236}">
                  <a16:creationId xmlns:a16="http://schemas.microsoft.com/office/drawing/2014/main" id="{AF8224B5-9A1C-4DFC-9A81-E5FD62FB56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6" name="Freeform 37">
              <a:extLst>
                <a:ext uri="{FF2B5EF4-FFF2-40B4-BE49-F238E27FC236}">
                  <a16:creationId xmlns:a16="http://schemas.microsoft.com/office/drawing/2014/main" id="{1C2A9587-67A6-4716-977B-862BFA82E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7" name="Freeform 38">
              <a:extLst>
                <a:ext uri="{FF2B5EF4-FFF2-40B4-BE49-F238E27FC236}">
                  <a16:creationId xmlns:a16="http://schemas.microsoft.com/office/drawing/2014/main" id="{495A0897-65A5-4410-A4A7-BD794D83C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8" name="Freeform 39">
              <a:extLst>
                <a:ext uri="{FF2B5EF4-FFF2-40B4-BE49-F238E27FC236}">
                  <a16:creationId xmlns:a16="http://schemas.microsoft.com/office/drawing/2014/main" id="{7E97296E-EB49-46E9-8E93-4AA5F3E541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9" name="Freeform 40">
              <a:extLst>
                <a:ext uri="{FF2B5EF4-FFF2-40B4-BE49-F238E27FC236}">
                  <a16:creationId xmlns:a16="http://schemas.microsoft.com/office/drawing/2014/main" id="{2F3461FC-DD4F-4CA4-B2A8-7F4F566F61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0" name="Freeform 41">
              <a:extLst>
                <a:ext uri="{FF2B5EF4-FFF2-40B4-BE49-F238E27FC236}">
                  <a16:creationId xmlns:a16="http://schemas.microsoft.com/office/drawing/2014/main" id="{8908A0F4-A93F-4BE5-8463-B36A8039B5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1" name="Freeform 42">
              <a:extLst>
                <a:ext uri="{FF2B5EF4-FFF2-40B4-BE49-F238E27FC236}">
                  <a16:creationId xmlns:a16="http://schemas.microsoft.com/office/drawing/2014/main" id="{24D30A92-E7FF-424A-B0A9-AC7FE32E77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2" name="Freeform 43">
              <a:extLst>
                <a:ext uri="{FF2B5EF4-FFF2-40B4-BE49-F238E27FC236}">
                  <a16:creationId xmlns:a16="http://schemas.microsoft.com/office/drawing/2014/main" id="{B2A95380-ABEE-40CA-BBE5-1E3411D8CD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3" name="Freeform 44">
              <a:extLst>
                <a:ext uri="{FF2B5EF4-FFF2-40B4-BE49-F238E27FC236}">
                  <a16:creationId xmlns:a16="http://schemas.microsoft.com/office/drawing/2014/main" id="{25364CF1-47E1-42AA-B408-1241E63E8C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4" name="Freeform 45">
              <a:extLst>
                <a:ext uri="{FF2B5EF4-FFF2-40B4-BE49-F238E27FC236}">
                  <a16:creationId xmlns:a16="http://schemas.microsoft.com/office/drawing/2014/main" id="{722A9A6F-E73A-4E34-A53F-A559E043C3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5" name="Freeform 46">
              <a:extLst>
                <a:ext uri="{FF2B5EF4-FFF2-40B4-BE49-F238E27FC236}">
                  <a16:creationId xmlns:a16="http://schemas.microsoft.com/office/drawing/2014/main" id="{7DC776F1-D1BF-4756-9B11-A3922DD28A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6" name="Freeform 47">
              <a:extLst>
                <a:ext uri="{FF2B5EF4-FFF2-40B4-BE49-F238E27FC236}">
                  <a16:creationId xmlns:a16="http://schemas.microsoft.com/office/drawing/2014/main" id="{F702349C-C6E4-46A5-8802-BB88DD4BE2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7" name="Freeform 48">
              <a:extLst>
                <a:ext uri="{FF2B5EF4-FFF2-40B4-BE49-F238E27FC236}">
                  <a16:creationId xmlns:a16="http://schemas.microsoft.com/office/drawing/2014/main" id="{346BC6D5-9E5A-4B92-9611-F9D07EF485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8" name="Freeform 49">
              <a:extLst>
                <a:ext uri="{FF2B5EF4-FFF2-40B4-BE49-F238E27FC236}">
                  <a16:creationId xmlns:a16="http://schemas.microsoft.com/office/drawing/2014/main" id="{2A9DF814-73D8-4894-8B96-23B40E6E90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9" name="Freeform 50">
              <a:extLst>
                <a:ext uri="{FF2B5EF4-FFF2-40B4-BE49-F238E27FC236}">
                  <a16:creationId xmlns:a16="http://schemas.microsoft.com/office/drawing/2014/main" id="{58C1703B-88EC-4C9F-B827-837D126B61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0" name="Freeform 51">
              <a:extLst>
                <a:ext uri="{FF2B5EF4-FFF2-40B4-BE49-F238E27FC236}">
                  <a16:creationId xmlns:a16="http://schemas.microsoft.com/office/drawing/2014/main" id="{7589E396-ADCF-4596-8DE4-4379AFCE7E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1" name="Freeform 52">
              <a:extLst>
                <a:ext uri="{FF2B5EF4-FFF2-40B4-BE49-F238E27FC236}">
                  <a16:creationId xmlns:a16="http://schemas.microsoft.com/office/drawing/2014/main" id="{C49FDA79-CF20-4CA4-9EC3-273E88B10C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2" name="Freeform 53">
              <a:extLst>
                <a:ext uri="{FF2B5EF4-FFF2-40B4-BE49-F238E27FC236}">
                  <a16:creationId xmlns:a16="http://schemas.microsoft.com/office/drawing/2014/main" id="{EAF66CB7-8F32-4F0C-B5A2-11A6143DA7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3" name="Freeform 54">
              <a:extLst>
                <a:ext uri="{FF2B5EF4-FFF2-40B4-BE49-F238E27FC236}">
                  <a16:creationId xmlns:a16="http://schemas.microsoft.com/office/drawing/2014/main" id="{DD4F44F0-927E-4351-9C37-2EE63B71F0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4" name="Freeform 55">
              <a:extLst>
                <a:ext uri="{FF2B5EF4-FFF2-40B4-BE49-F238E27FC236}">
                  <a16:creationId xmlns:a16="http://schemas.microsoft.com/office/drawing/2014/main" id="{92AC303A-678D-4707-A16F-2DA1A07D9D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5" name="Freeform 56">
              <a:extLst>
                <a:ext uri="{FF2B5EF4-FFF2-40B4-BE49-F238E27FC236}">
                  <a16:creationId xmlns:a16="http://schemas.microsoft.com/office/drawing/2014/main" id="{4BCFC9F6-3BBE-4394-851E-3738C7D6EB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6" name="Freeform 57">
              <a:extLst>
                <a:ext uri="{FF2B5EF4-FFF2-40B4-BE49-F238E27FC236}">
                  <a16:creationId xmlns:a16="http://schemas.microsoft.com/office/drawing/2014/main" id="{D4997C90-4986-45C1-9DAC-A5D26B02F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7" name="Freeform 58">
              <a:extLst>
                <a:ext uri="{FF2B5EF4-FFF2-40B4-BE49-F238E27FC236}">
                  <a16:creationId xmlns:a16="http://schemas.microsoft.com/office/drawing/2014/main" id="{ACC13E25-4EE3-4A63-B0AF-2162BB78EC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8" name="Freeform 59">
              <a:extLst>
                <a:ext uri="{FF2B5EF4-FFF2-40B4-BE49-F238E27FC236}">
                  <a16:creationId xmlns:a16="http://schemas.microsoft.com/office/drawing/2014/main" id="{87AA0A80-577E-43A6-B738-0BAFE7F7B4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9" name="Freeform 60">
              <a:extLst>
                <a:ext uri="{FF2B5EF4-FFF2-40B4-BE49-F238E27FC236}">
                  <a16:creationId xmlns:a16="http://schemas.microsoft.com/office/drawing/2014/main" id="{3DBFF628-46A4-41BD-9FA9-3D4418E866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0" name="Freeform 61">
              <a:extLst>
                <a:ext uri="{FF2B5EF4-FFF2-40B4-BE49-F238E27FC236}">
                  <a16:creationId xmlns:a16="http://schemas.microsoft.com/office/drawing/2014/main" id="{D6413240-42B4-45DB-BBA2-56A1CDBD3C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1" name="Freeform 62">
              <a:extLst>
                <a:ext uri="{FF2B5EF4-FFF2-40B4-BE49-F238E27FC236}">
                  <a16:creationId xmlns:a16="http://schemas.microsoft.com/office/drawing/2014/main" id="{8AAB2B20-3978-4858-9836-C1351201A6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</p:grpSp>
      <p:sp>
        <p:nvSpPr>
          <p:cNvPr id="66" name="Text Placeholder 135">
            <a:extLst>
              <a:ext uri="{FF2B5EF4-FFF2-40B4-BE49-F238E27FC236}">
                <a16:creationId xmlns:a16="http://schemas.microsoft.com/office/drawing/2014/main" id="{601F3602-2361-40F0-A995-ABA050961A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22680219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6C5FD4-26B4-4C9F-9FC8-80D375B3C3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2DD25-61AE-413C-B4D2-EF2365C9B2E1}" type="slidenum">
              <a:rPr lang="en-AU" smtClean="0"/>
              <a:t>‹#›</a:t>
            </a:fld>
            <a:endParaRPr lang="en-AU"/>
          </a:p>
        </p:txBody>
      </p:sp>
      <p:sp>
        <p:nvSpPr>
          <p:cNvPr id="64" name="Title 63">
            <a:extLst>
              <a:ext uri="{FF2B5EF4-FFF2-40B4-BE49-F238E27FC236}">
                <a16:creationId xmlns:a16="http://schemas.microsoft.com/office/drawing/2014/main" id="{6588F683-12EB-403B-8215-D3E833481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177212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Discov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A3F1C04-3200-4425-86D0-2F9E2EAC9EF4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4772203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1200"/>
              </a:spcAft>
              <a:buNone/>
              <a:defRPr sz="3800" b="1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67" name="Group 4">
            <a:extLst>
              <a:ext uri="{FF2B5EF4-FFF2-40B4-BE49-F238E27FC236}">
                <a16:creationId xmlns:a16="http://schemas.microsoft.com/office/drawing/2014/main" id="{17413FA8-B926-4F79-BE67-4D826E05949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21066" y="453777"/>
            <a:ext cx="1662286" cy="1666547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68" name="AutoShape 3">
              <a:extLst>
                <a:ext uri="{FF2B5EF4-FFF2-40B4-BE49-F238E27FC236}">
                  <a16:creationId xmlns:a16="http://schemas.microsoft.com/office/drawing/2014/main" id="{67A0898D-5E9C-4ECA-8716-B27BD4E303A7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69" name="Rectangle 5">
              <a:extLst>
                <a:ext uri="{FF2B5EF4-FFF2-40B4-BE49-F238E27FC236}">
                  <a16:creationId xmlns:a16="http://schemas.microsoft.com/office/drawing/2014/main" id="{239A1E07-3A1C-41F5-92ED-8B3567E0FF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0" name="Freeform 6">
              <a:extLst>
                <a:ext uri="{FF2B5EF4-FFF2-40B4-BE49-F238E27FC236}">
                  <a16:creationId xmlns:a16="http://schemas.microsoft.com/office/drawing/2014/main" id="{E9D6C4A4-2B67-4288-817E-9A4BFFCA30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1" name="Freeform 7">
              <a:extLst>
                <a:ext uri="{FF2B5EF4-FFF2-40B4-BE49-F238E27FC236}">
                  <a16:creationId xmlns:a16="http://schemas.microsoft.com/office/drawing/2014/main" id="{6B8D6F90-2C6B-4628-AE61-C65FEE4878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C0E4DAA6-41BC-4FB2-8CF3-65E9131F42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3" name="Freeform 9">
              <a:extLst>
                <a:ext uri="{FF2B5EF4-FFF2-40B4-BE49-F238E27FC236}">
                  <a16:creationId xmlns:a16="http://schemas.microsoft.com/office/drawing/2014/main" id="{2474DAF8-D7A5-411C-A001-70D5A07D88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4" name="Freeform 10">
              <a:extLst>
                <a:ext uri="{FF2B5EF4-FFF2-40B4-BE49-F238E27FC236}">
                  <a16:creationId xmlns:a16="http://schemas.microsoft.com/office/drawing/2014/main" id="{06B8E519-0572-4B3F-9254-9C405ADACC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5" name="Freeform 11">
              <a:extLst>
                <a:ext uri="{FF2B5EF4-FFF2-40B4-BE49-F238E27FC236}">
                  <a16:creationId xmlns:a16="http://schemas.microsoft.com/office/drawing/2014/main" id="{4DA47499-7EFA-44C7-93C9-40237E640F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6" name="Freeform 12">
              <a:extLst>
                <a:ext uri="{FF2B5EF4-FFF2-40B4-BE49-F238E27FC236}">
                  <a16:creationId xmlns:a16="http://schemas.microsoft.com/office/drawing/2014/main" id="{C8EA471D-6FAF-4C4F-B21D-814C5991B9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7" name="Freeform 13">
              <a:extLst>
                <a:ext uri="{FF2B5EF4-FFF2-40B4-BE49-F238E27FC236}">
                  <a16:creationId xmlns:a16="http://schemas.microsoft.com/office/drawing/2014/main" id="{BEC055FD-07C4-4F86-A926-EFFCD0E704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8" name="Freeform 14">
              <a:extLst>
                <a:ext uri="{FF2B5EF4-FFF2-40B4-BE49-F238E27FC236}">
                  <a16:creationId xmlns:a16="http://schemas.microsoft.com/office/drawing/2014/main" id="{DBC8C3F1-E782-4E33-8648-C0D9005D2F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37" name="Freeform 15">
              <a:extLst>
                <a:ext uri="{FF2B5EF4-FFF2-40B4-BE49-F238E27FC236}">
                  <a16:creationId xmlns:a16="http://schemas.microsoft.com/office/drawing/2014/main" id="{511543D3-2D83-4FA7-A510-0D59ED4DFD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1" name="Freeform 16">
              <a:extLst>
                <a:ext uri="{FF2B5EF4-FFF2-40B4-BE49-F238E27FC236}">
                  <a16:creationId xmlns:a16="http://schemas.microsoft.com/office/drawing/2014/main" id="{5C99A006-6A36-4318-A0F6-FC763AF1FD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2" name="Freeform 17">
              <a:extLst>
                <a:ext uri="{FF2B5EF4-FFF2-40B4-BE49-F238E27FC236}">
                  <a16:creationId xmlns:a16="http://schemas.microsoft.com/office/drawing/2014/main" id="{D65C69B5-F055-4C41-976C-E6733BC98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3" name="Freeform 18">
              <a:extLst>
                <a:ext uri="{FF2B5EF4-FFF2-40B4-BE49-F238E27FC236}">
                  <a16:creationId xmlns:a16="http://schemas.microsoft.com/office/drawing/2014/main" id="{1A3177FB-A0BD-4B08-B181-14A829DF1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4" name="Freeform 19">
              <a:extLst>
                <a:ext uri="{FF2B5EF4-FFF2-40B4-BE49-F238E27FC236}">
                  <a16:creationId xmlns:a16="http://schemas.microsoft.com/office/drawing/2014/main" id="{3528B336-8FBC-4C1E-B4B2-C99449F8E8B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5" name="Freeform 20">
              <a:extLst>
                <a:ext uri="{FF2B5EF4-FFF2-40B4-BE49-F238E27FC236}">
                  <a16:creationId xmlns:a16="http://schemas.microsoft.com/office/drawing/2014/main" id="{BD4F46C1-2FE6-44C8-A55E-45E98246F6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8" name="Rectangle 21">
              <a:extLst>
                <a:ext uri="{FF2B5EF4-FFF2-40B4-BE49-F238E27FC236}">
                  <a16:creationId xmlns:a16="http://schemas.microsoft.com/office/drawing/2014/main" id="{09DD4248-B5EF-40DF-AEE7-8BD9A8A741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9" name="Freeform 22">
              <a:extLst>
                <a:ext uri="{FF2B5EF4-FFF2-40B4-BE49-F238E27FC236}">
                  <a16:creationId xmlns:a16="http://schemas.microsoft.com/office/drawing/2014/main" id="{0EF4CE3A-3112-407D-B00C-337ACD7FDA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0" name="Freeform 23">
              <a:extLst>
                <a:ext uri="{FF2B5EF4-FFF2-40B4-BE49-F238E27FC236}">
                  <a16:creationId xmlns:a16="http://schemas.microsoft.com/office/drawing/2014/main" id="{EEE8532D-E6E7-4BD0-9A45-58E8A1A93D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1" name="Freeform 24">
              <a:extLst>
                <a:ext uri="{FF2B5EF4-FFF2-40B4-BE49-F238E27FC236}">
                  <a16:creationId xmlns:a16="http://schemas.microsoft.com/office/drawing/2014/main" id="{2B2B85B8-C753-425A-ACC5-3B2B2268FE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2" name="Freeform 25">
              <a:extLst>
                <a:ext uri="{FF2B5EF4-FFF2-40B4-BE49-F238E27FC236}">
                  <a16:creationId xmlns:a16="http://schemas.microsoft.com/office/drawing/2014/main" id="{023916B4-1AD7-4055-9353-DB438003EF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3" name="Freeform 26">
              <a:extLst>
                <a:ext uri="{FF2B5EF4-FFF2-40B4-BE49-F238E27FC236}">
                  <a16:creationId xmlns:a16="http://schemas.microsoft.com/office/drawing/2014/main" id="{6D2086AF-BC95-4BE8-AB84-A66F4C80A6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4" name="Freeform 27">
              <a:extLst>
                <a:ext uri="{FF2B5EF4-FFF2-40B4-BE49-F238E27FC236}">
                  <a16:creationId xmlns:a16="http://schemas.microsoft.com/office/drawing/2014/main" id="{E7A147C6-9FDA-4D95-A42A-92861D17D6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5" name="Freeform 28">
              <a:extLst>
                <a:ext uri="{FF2B5EF4-FFF2-40B4-BE49-F238E27FC236}">
                  <a16:creationId xmlns:a16="http://schemas.microsoft.com/office/drawing/2014/main" id="{45D5BF2A-EF85-417C-B03F-30CEAE118D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6" name="Freeform 29">
              <a:extLst>
                <a:ext uri="{FF2B5EF4-FFF2-40B4-BE49-F238E27FC236}">
                  <a16:creationId xmlns:a16="http://schemas.microsoft.com/office/drawing/2014/main" id="{795098EC-2ACB-4C39-AA2D-A12FF06BA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7" name="Freeform 30">
              <a:extLst>
                <a:ext uri="{FF2B5EF4-FFF2-40B4-BE49-F238E27FC236}">
                  <a16:creationId xmlns:a16="http://schemas.microsoft.com/office/drawing/2014/main" id="{447048D5-71A3-4A33-9E51-0388E2EC90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8" name="Freeform 31">
              <a:extLst>
                <a:ext uri="{FF2B5EF4-FFF2-40B4-BE49-F238E27FC236}">
                  <a16:creationId xmlns:a16="http://schemas.microsoft.com/office/drawing/2014/main" id="{5866A8C0-C096-47DA-9C8E-D82E74E47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9" name="Freeform 32">
              <a:extLst>
                <a:ext uri="{FF2B5EF4-FFF2-40B4-BE49-F238E27FC236}">
                  <a16:creationId xmlns:a16="http://schemas.microsoft.com/office/drawing/2014/main" id="{4B91E936-1F6C-4BAE-9F8C-2A198926D7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0" name="Freeform 34">
              <a:extLst>
                <a:ext uri="{FF2B5EF4-FFF2-40B4-BE49-F238E27FC236}">
                  <a16:creationId xmlns:a16="http://schemas.microsoft.com/office/drawing/2014/main" id="{88823701-A9F3-4323-AD0C-A2AD4BE0B9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1" name="Freeform 35">
              <a:extLst>
                <a:ext uri="{FF2B5EF4-FFF2-40B4-BE49-F238E27FC236}">
                  <a16:creationId xmlns:a16="http://schemas.microsoft.com/office/drawing/2014/main" id="{C495104A-F915-4B0C-961E-EF42EEA3C8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2" name="Freeform 36">
              <a:extLst>
                <a:ext uri="{FF2B5EF4-FFF2-40B4-BE49-F238E27FC236}">
                  <a16:creationId xmlns:a16="http://schemas.microsoft.com/office/drawing/2014/main" id="{6A51DB3B-303A-4D1F-A5E4-A76D700245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3" name="Freeform 37">
              <a:extLst>
                <a:ext uri="{FF2B5EF4-FFF2-40B4-BE49-F238E27FC236}">
                  <a16:creationId xmlns:a16="http://schemas.microsoft.com/office/drawing/2014/main" id="{E2E2D34A-EEA4-4A9C-81F3-B794F5CEFE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4" name="Freeform 38">
              <a:extLst>
                <a:ext uri="{FF2B5EF4-FFF2-40B4-BE49-F238E27FC236}">
                  <a16:creationId xmlns:a16="http://schemas.microsoft.com/office/drawing/2014/main" id="{8B3BECFC-710D-46F1-96FF-B5371F927C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5" name="Freeform 39">
              <a:extLst>
                <a:ext uri="{FF2B5EF4-FFF2-40B4-BE49-F238E27FC236}">
                  <a16:creationId xmlns:a16="http://schemas.microsoft.com/office/drawing/2014/main" id="{90665531-8DF2-4759-B8DB-FEF6D91D48E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6" name="Freeform 40">
              <a:extLst>
                <a:ext uri="{FF2B5EF4-FFF2-40B4-BE49-F238E27FC236}">
                  <a16:creationId xmlns:a16="http://schemas.microsoft.com/office/drawing/2014/main" id="{26F566F5-E589-4F94-81DD-DD2CA39F85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7" name="Freeform 41">
              <a:extLst>
                <a:ext uri="{FF2B5EF4-FFF2-40B4-BE49-F238E27FC236}">
                  <a16:creationId xmlns:a16="http://schemas.microsoft.com/office/drawing/2014/main" id="{AD2F1B90-FBA5-468A-ADE5-6AF4A84870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8" name="Freeform 42">
              <a:extLst>
                <a:ext uri="{FF2B5EF4-FFF2-40B4-BE49-F238E27FC236}">
                  <a16:creationId xmlns:a16="http://schemas.microsoft.com/office/drawing/2014/main" id="{2FD588FF-B434-4865-9645-F295045E86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9" name="Freeform 43">
              <a:extLst>
                <a:ext uri="{FF2B5EF4-FFF2-40B4-BE49-F238E27FC236}">
                  <a16:creationId xmlns:a16="http://schemas.microsoft.com/office/drawing/2014/main" id="{19302DA6-B22F-4EF5-A69A-ABD9063A8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0" name="Freeform 44">
              <a:extLst>
                <a:ext uri="{FF2B5EF4-FFF2-40B4-BE49-F238E27FC236}">
                  <a16:creationId xmlns:a16="http://schemas.microsoft.com/office/drawing/2014/main" id="{FE7EC85F-4555-4FCA-8CCD-19C42F488E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1" name="Freeform 45">
              <a:extLst>
                <a:ext uri="{FF2B5EF4-FFF2-40B4-BE49-F238E27FC236}">
                  <a16:creationId xmlns:a16="http://schemas.microsoft.com/office/drawing/2014/main" id="{1962168F-4DE0-46A6-8EFD-C4A1BA3751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2" name="Freeform 46">
              <a:extLst>
                <a:ext uri="{FF2B5EF4-FFF2-40B4-BE49-F238E27FC236}">
                  <a16:creationId xmlns:a16="http://schemas.microsoft.com/office/drawing/2014/main" id="{7B9E10B1-1CAA-4E4C-B256-1BA034A292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3" name="Freeform 47">
              <a:extLst>
                <a:ext uri="{FF2B5EF4-FFF2-40B4-BE49-F238E27FC236}">
                  <a16:creationId xmlns:a16="http://schemas.microsoft.com/office/drawing/2014/main" id="{A8D8148A-C053-4A37-844E-75EF041690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4" name="Freeform 48">
              <a:extLst>
                <a:ext uri="{FF2B5EF4-FFF2-40B4-BE49-F238E27FC236}">
                  <a16:creationId xmlns:a16="http://schemas.microsoft.com/office/drawing/2014/main" id="{A20CEF9E-743B-4F98-9FF0-EBBBC4FEB2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5" name="Freeform 49">
              <a:extLst>
                <a:ext uri="{FF2B5EF4-FFF2-40B4-BE49-F238E27FC236}">
                  <a16:creationId xmlns:a16="http://schemas.microsoft.com/office/drawing/2014/main" id="{B790B20E-FD43-462D-8007-EC2B15D8FC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6" name="Freeform 50">
              <a:extLst>
                <a:ext uri="{FF2B5EF4-FFF2-40B4-BE49-F238E27FC236}">
                  <a16:creationId xmlns:a16="http://schemas.microsoft.com/office/drawing/2014/main" id="{3DCCF01C-7444-4B23-BDF1-D8027642EA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7" name="Freeform 51">
              <a:extLst>
                <a:ext uri="{FF2B5EF4-FFF2-40B4-BE49-F238E27FC236}">
                  <a16:creationId xmlns:a16="http://schemas.microsoft.com/office/drawing/2014/main" id="{9C1F7A58-7A43-4EF6-8310-FC2223E349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8" name="Freeform 52">
              <a:extLst>
                <a:ext uri="{FF2B5EF4-FFF2-40B4-BE49-F238E27FC236}">
                  <a16:creationId xmlns:a16="http://schemas.microsoft.com/office/drawing/2014/main" id="{CFADC32E-9FC7-4E6E-842D-E7A407A37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9" name="Freeform 53">
              <a:extLst>
                <a:ext uri="{FF2B5EF4-FFF2-40B4-BE49-F238E27FC236}">
                  <a16:creationId xmlns:a16="http://schemas.microsoft.com/office/drawing/2014/main" id="{D5B27FA2-8D3C-408A-9480-A049E6D384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0" name="Freeform 54">
              <a:extLst>
                <a:ext uri="{FF2B5EF4-FFF2-40B4-BE49-F238E27FC236}">
                  <a16:creationId xmlns:a16="http://schemas.microsoft.com/office/drawing/2014/main" id="{1FE7A3D8-FB06-4617-BFC5-9D2DCCA8AB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1" name="Freeform 55">
              <a:extLst>
                <a:ext uri="{FF2B5EF4-FFF2-40B4-BE49-F238E27FC236}">
                  <a16:creationId xmlns:a16="http://schemas.microsoft.com/office/drawing/2014/main" id="{465E4A38-A19E-4A38-8E8A-A82D12FA5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2" name="Freeform 56">
              <a:extLst>
                <a:ext uri="{FF2B5EF4-FFF2-40B4-BE49-F238E27FC236}">
                  <a16:creationId xmlns:a16="http://schemas.microsoft.com/office/drawing/2014/main" id="{A1F24538-62EE-43F6-AFF0-9E5AC6235F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3" name="Freeform 57">
              <a:extLst>
                <a:ext uri="{FF2B5EF4-FFF2-40B4-BE49-F238E27FC236}">
                  <a16:creationId xmlns:a16="http://schemas.microsoft.com/office/drawing/2014/main" id="{E45D68DF-3FB9-4397-9E42-B8F0FD2CBC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4" name="Freeform 58">
              <a:extLst>
                <a:ext uri="{FF2B5EF4-FFF2-40B4-BE49-F238E27FC236}">
                  <a16:creationId xmlns:a16="http://schemas.microsoft.com/office/drawing/2014/main" id="{A559BEA7-D8F9-48FE-8B9C-D2CC236311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5" name="Freeform 59">
              <a:extLst>
                <a:ext uri="{FF2B5EF4-FFF2-40B4-BE49-F238E27FC236}">
                  <a16:creationId xmlns:a16="http://schemas.microsoft.com/office/drawing/2014/main" id="{00C3857F-D388-4662-B791-624CEA2D4E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6" name="Freeform 60">
              <a:extLst>
                <a:ext uri="{FF2B5EF4-FFF2-40B4-BE49-F238E27FC236}">
                  <a16:creationId xmlns:a16="http://schemas.microsoft.com/office/drawing/2014/main" id="{509EDC47-72F4-4A73-A0DC-EFEEA7F78B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7" name="Freeform 61">
              <a:extLst>
                <a:ext uri="{FF2B5EF4-FFF2-40B4-BE49-F238E27FC236}">
                  <a16:creationId xmlns:a16="http://schemas.microsoft.com/office/drawing/2014/main" id="{82FD3E03-FA3C-47B4-A46E-1FDBD51C45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8" name="Freeform 62">
              <a:extLst>
                <a:ext uri="{FF2B5EF4-FFF2-40B4-BE49-F238E27FC236}">
                  <a16:creationId xmlns:a16="http://schemas.microsoft.com/office/drawing/2014/main" id="{B71695B0-B6B0-40D5-8FAF-58EC726C64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</p:grpSp>
      <p:sp>
        <p:nvSpPr>
          <p:cNvPr id="79" name="Freeform: Shape 78">
            <a:extLst>
              <a:ext uri="{FF2B5EF4-FFF2-40B4-BE49-F238E27FC236}">
                <a16:creationId xmlns:a16="http://schemas.microsoft.com/office/drawing/2014/main" id="{9821C742-34A7-4634-ABFF-1A8C76DB814E}"/>
              </a:ext>
            </a:extLst>
          </p:cNvPr>
          <p:cNvSpPr/>
          <p:nvPr userDrawn="1"/>
        </p:nvSpPr>
        <p:spPr>
          <a:xfrm>
            <a:off x="6272240" y="1030147"/>
            <a:ext cx="5919758" cy="5825419"/>
          </a:xfrm>
          <a:custGeom>
            <a:avLst/>
            <a:gdLst>
              <a:gd name="connsiteX0" fmla="*/ 5919758 w 5919758"/>
              <a:gd name="connsiteY0" fmla="*/ 0 h 5825419"/>
              <a:gd name="connsiteX1" fmla="*/ 5919758 w 5919758"/>
              <a:gd name="connsiteY1" fmla="*/ 5825419 h 5825419"/>
              <a:gd name="connsiteX2" fmla="*/ 1120273 w 5919758"/>
              <a:gd name="connsiteY2" fmla="*/ 5825419 h 5825419"/>
              <a:gd name="connsiteX3" fmla="*/ 0 w 5919758"/>
              <a:gd name="connsiteY3" fmla="*/ 1588036 h 582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9758" h="5825419">
                <a:moveTo>
                  <a:pt x="5919758" y="0"/>
                </a:moveTo>
                <a:lnTo>
                  <a:pt x="5919758" y="5825419"/>
                </a:lnTo>
                <a:lnTo>
                  <a:pt x="1120273" y="5825419"/>
                </a:lnTo>
                <a:lnTo>
                  <a:pt x="0" y="1588036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79808" t="-43218" r="-79808" b="-4321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1" name="Text Placeholder 140">
            <a:extLst>
              <a:ext uri="{FF2B5EF4-FFF2-40B4-BE49-F238E27FC236}">
                <a16:creationId xmlns:a16="http://schemas.microsoft.com/office/drawing/2014/main" id="{E2C11A33-E2C2-4ED9-A0FF-F9E78469F2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3" y="5394937"/>
            <a:ext cx="4772202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bg1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66" name="Text Placeholder 135">
            <a:extLst>
              <a:ext uri="{FF2B5EF4-FFF2-40B4-BE49-F238E27FC236}">
                <a16:creationId xmlns:a16="http://schemas.microsoft.com/office/drawing/2014/main" id="{CFA768B8-D2D1-447E-9F0E-47C681CCC9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5784771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Fluid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A3F1C04-3200-4425-86D0-2F9E2EAC9EF4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4772203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1200"/>
              </a:spcAft>
              <a:buNone/>
              <a:defRPr sz="3800" b="1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67" name="Group 4">
            <a:extLst>
              <a:ext uri="{FF2B5EF4-FFF2-40B4-BE49-F238E27FC236}">
                <a16:creationId xmlns:a16="http://schemas.microsoft.com/office/drawing/2014/main" id="{17413FA8-B926-4F79-BE67-4D826E05949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21066" y="453777"/>
            <a:ext cx="1662286" cy="1666547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68" name="AutoShape 3">
              <a:extLst>
                <a:ext uri="{FF2B5EF4-FFF2-40B4-BE49-F238E27FC236}">
                  <a16:creationId xmlns:a16="http://schemas.microsoft.com/office/drawing/2014/main" id="{67A0898D-5E9C-4ECA-8716-B27BD4E303A7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69" name="Rectangle 5">
              <a:extLst>
                <a:ext uri="{FF2B5EF4-FFF2-40B4-BE49-F238E27FC236}">
                  <a16:creationId xmlns:a16="http://schemas.microsoft.com/office/drawing/2014/main" id="{239A1E07-3A1C-41F5-92ED-8B3567E0FF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0" name="Freeform 6">
              <a:extLst>
                <a:ext uri="{FF2B5EF4-FFF2-40B4-BE49-F238E27FC236}">
                  <a16:creationId xmlns:a16="http://schemas.microsoft.com/office/drawing/2014/main" id="{E9D6C4A4-2B67-4288-817E-9A4BFFCA30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1" name="Freeform 7">
              <a:extLst>
                <a:ext uri="{FF2B5EF4-FFF2-40B4-BE49-F238E27FC236}">
                  <a16:creationId xmlns:a16="http://schemas.microsoft.com/office/drawing/2014/main" id="{6B8D6F90-2C6B-4628-AE61-C65FEE4878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C0E4DAA6-41BC-4FB2-8CF3-65E9131F42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3" name="Freeform 9">
              <a:extLst>
                <a:ext uri="{FF2B5EF4-FFF2-40B4-BE49-F238E27FC236}">
                  <a16:creationId xmlns:a16="http://schemas.microsoft.com/office/drawing/2014/main" id="{2474DAF8-D7A5-411C-A001-70D5A07D88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4" name="Freeform 10">
              <a:extLst>
                <a:ext uri="{FF2B5EF4-FFF2-40B4-BE49-F238E27FC236}">
                  <a16:creationId xmlns:a16="http://schemas.microsoft.com/office/drawing/2014/main" id="{06B8E519-0572-4B3F-9254-9C405ADACC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5" name="Freeform 11">
              <a:extLst>
                <a:ext uri="{FF2B5EF4-FFF2-40B4-BE49-F238E27FC236}">
                  <a16:creationId xmlns:a16="http://schemas.microsoft.com/office/drawing/2014/main" id="{4DA47499-7EFA-44C7-93C9-40237E640F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6" name="Freeform 12">
              <a:extLst>
                <a:ext uri="{FF2B5EF4-FFF2-40B4-BE49-F238E27FC236}">
                  <a16:creationId xmlns:a16="http://schemas.microsoft.com/office/drawing/2014/main" id="{C8EA471D-6FAF-4C4F-B21D-814C5991B9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7" name="Freeform 13">
              <a:extLst>
                <a:ext uri="{FF2B5EF4-FFF2-40B4-BE49-F238E27FC236}">
                  <a16:creationId xmlns:a16="http://schemas.microsoft.com/office/drawing/2014/main" id="{BEC055FD-07C4-4F86-A926-EFFCD0E704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8" name="Freeform 14">
              <a:extLst>
                <a:ext uri="{FF2B5EF4-FFF2-40B4-BE49-F238E27FC236}">
                  <a16:creationId xmlns:a16="http://schemas.microsoft.com/office/drawing/2014/main" id="{DBC8C3F1-E782-4E33-8648-C0D9005D2F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37" name="Freeform 15">
              <a:extLst>
                <a:ext uri="{FF2B5EF4-FFF2-40B4-BE49-F238E27FC236}">
                  <a16:creationId xmlns:a16="http://schemas.microsoft.com/office/drawing/2014/main" id="{511543D3-2D83-4FA7-A510-0D59ED4DFD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1" name="Freeform 16">
              <a:extLst>
                <a:ext uri="{FF2B5EF4-FFF2-40B4-BE49-F238E27FC236}">
                  <a16:creationId xmlns:a16="http://schemas.microsoft.com/office/drawing/2014/main" id="{5C99A006-6A36-4318-A0F6-FC763AF1FD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2" name="Freeform 17">
              <a:extLst>
                <a:ext uri="{FF2B5EF4-FFF2-40B4-BE49-F238E27FC236}">
                  <a16:creationId xmlns:a16="http://schemas.microsoft.com/office/drawing/2014/main" id="{D65C69B5-F055-4C41-976C-E6733BC98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3" name="Freeform 18">
              <a:extLst>
                <a:ext uri="{FF2B5EF4-FFF2-40B4-BE49-F238E27FC236}">
                  <a16:creationId xmlns:a16="http://schemas.microsoft.com/office/drawing/2014/main" id="{1A3177FB-A0BD-4B08-B181-14A829DF1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4" name="Freeform 19">
              <a:extLst>
                <a:ext uri="{FF2B5EF4-FFF2-40B4-BE49-F238E27FC236}">
                  <a16:creationId xmlns:a16="http://schemas.microsoft.com/office/drawing/2014/main" id="{3528B336-8FBC-4C1E-B4B2-C99449F8E8B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5" name="Freeform 20">
              <a:extLst>
                <a:ext uri="{FF2B5EF4-FFF2-40B4-BE49-F238E27FC236}">
                  <a16:creationId xmlns:a16="http://schemas.microsoft.com/office/drawing/2014/main" id="{BD4F46C1-2FE6-44C8-A55E-45E98246F6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8" name="Rectangle 21">
              <a:extLst>
                <a:ext uri="{FF2B5EF4-FFF2-40B4-BE49-F238E27FC236}">
                  <a16:creationId xmlns:a16="http://schemas.microsoft.com/office/drawing/2014/main" id="{09DD4248-B5EF-40DF-AEE7-8BD9A8A741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9" name="Freeform 22">
              <a:extLst>
                <a:ext uri="{FF2B5EF4-FFF2-40B4-BE49-F238E27FC236}">
                  <a16:creationId xmlns:a16="http://schemas.microsoft.com/office/drawing/2014/main" id="{0EF4CE3A-3112-407D-B00C-337ACD7FDA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0" name="Freeform 23">
              <a:extLst>
                <a:ext uri="{FF2B5EF4-FFF2-40B4-BE49-F238E27FC236}">
                  <a16:creationId xmlns:a16="http://schemas.microsoft.com/office/drawing/2014/main" id="{EEE8532D-E6E7-4BD0-9A45-58E8A1A93D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1" name="Freeform 24">
              <a:extLst>
                <a:ext uri="{FF2B5EF4-FFF2-40B4-BE49-F238E27FC236}">
                  <a16:creationId xmlns:a16="http://schemas.microsoft.com/office/drawing/2014/main" id="{2B2B85B8-C753-425A-ACC5-3B2B2268FE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2" name="Freeform 25">
              <a:extLst>
                <a:ext uri="{FF2B5EF4-FFF2-40B4-BE49-F238E27FC236}">
                  <a16:creationId xmlns:a16="http://schemas.microsoft.com/office/drawing/2014/main" id="{023916B4-1AD7-4055-9353-DB438003EF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3" name="Freeform 26">
              <a:extLst>
                <a:ext uri="{FF2B5EF4-FFF2-40B4-BE49-F238E27FC236}">
                  <a16:creationId xmlns:a16="http://schemas.microsoft.com/office/drawing/2014/main" id="{6D2086AF-BC95-4BE8-AB84-A66F4C80A6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4" name="Freeform 27">
              <a:extLst>
                <a:ext uri="{FF2B5EF4-FFF2-40B4-BE49-F238E27FC236}">
                  <a16:creationId xmlns:a16="http://schemas.microsoft.com/office/drawing/2014/main" id="{E7A147C6-9FDA-4D95-A42A-92861D17D6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5" name="Freeform 28">
              <a:extLst>
                <a:ext uri="{FF2B5EF4-FFF2-40B4-BE49-F238E27FC236}">
                  <a16:creationId xmlns:a16="http://schemas.microsoft.com/office/drawing/2014/main" id="{45D5BF2A-EF85-417C-B03F-30CEAE118D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6" name="Freeform 29">
              <a:extLst>
                <a:ext uri="{FF2B5EF4-FFF2-40B4-BE49-F238E27FC236}">
                  <a16:creationId xmlns:a16="http://schemas.microsoft.com/office/drawing/2014/main" id="{795098EC-2ACB-4C39-AA2D-A12FF06BA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7" name="Freeform 30">
              <a:extLst>
                <a:ext uri="{FF2B5EF4-FFF2-40B4-BE49-F238E27FC236}">
                  <a16:creationId xmlns:a16="http://schemas.microsoft.com/office/drawing/2014/main" id="{447048D5-71A3-4A33-9E51-0388E2EC90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8" name="Freeform 31">
              <a:extLst>
                <a:ext uri="{FF2B5EF4-FFF2-40B4-BE49-F238E27FC236}">
                  <a16:creationId xmlns:a16="http://schemas.microsoft.com/office/drawing/2014/main" id="{5866A8C0-C096-47DA-9C8E-D82E74E47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9" name="Freeform 32">
              <a:extLst>
                <a:ext uri="{FF2B5EF4-FFF2-40B4-BE49-F238E27FC236}">
                  <a16:creationId xmlns:a16="http://schemas.microsoft.com/office/drawing/2014/main" id="{4B91E936-1F6C-4BAE-9F8C-2A198926D7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0" name="Freeform 34">
              <a:extLst>
                <a:ext uri="{FF2B5EF4-FFF2-40B4-BE49-F238E27FC236}">
                  <a16:creationId xmlns:a16="http://schemas.microsoft.com/office/drawing/2014/main" id="{88823701-A9F3-4323-AD0C-A2AD4BE0B9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1" name="Freeform 35">
              <a:extLst>
                <a:ext uri="{FF2B5EF4-FFF2-40B4-BE49-F238E27FC236}">
                  <a16:creationId xmlns:a16="http://schemas.microsoft.com/office/drawing/2014/main" id="{C495104A-F915-4B0C-961E-EF42EEA3C8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2" name="Freeform 36">
              <a:extLst>
                <a:ext uri="{FF2B5EF4-FFF2-40B4-BE49-F238E27FC236}">
                  <a16:creationId xmlns:a16="http://schemas.microsoft.com/office/drawing/2014/main" id="{6A51DB3B-303A-4D1F-A5E4-A76D700245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3" name="Freeform 37">
              <a:extLst>
                <a:ext uri="{FF2B5EF4-FFF2-40B4-BE49-F238E27FC236}">
                  <a16:creationId xmlns:a16="http://schemas.microsoft.com/office/drawing/2014/main" id="{E2E2D34A-EEA4-4A9C-81F3-B794F5CEFE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4" name="Freeform 38">
              <a:extLst>
                <a:ext uri="{FF2B5EF4-FFF2-40B4-BE49-F238E27FC236}">
                  <a16:creationId xmlns:a16="http://schemas.microsoft.com/office/drawing/2014/main" id="{8B3BECFC-710D-46F1-96FF-B5371F927C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5" name="Freeform 39">
              <a:extLst>
                <a:ext uri="{FF2B5EF4-FFF2-40B4-BE49-F238E27FC236}">
                  <a16:creationId xmlns:a16="http://schemas.microsoft.com/office/drawing/2014/main" id="{90665531-8DF2-4759-B8DB-FEF6D91D48E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6" name="Freeform 40">
              <a:extLst>
                <a:ext uri="{FF2B5EF4-FFF2-40B4-BE49-F238E27FC236}">
                  <a16:creationId xmlns:a16="http://schemas.microsoft.com/office/drawing/2014/main" id="{26F566F5-E589-4F94-81DD-DD2CA39F85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7" name="Freeform 41">
              <a:extLst>
                <a:ext uri="{FF2B5EF4-FFF2-40B4-BE49-F238E27FC236}">
                  <a16:creationId xmlns:a16="http://schemas.microsoft.com/office/drawing/2014/main" id="{AD2F1B90-FBA5-468A-ADE5-6AF4A84870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8" name="Freeform 42">
              <a:extLst>
                <a:ext uri="{FF2B5EF4-FFF2-40B4-BE49-F238E27FC236}">
                  <a16:creationId xmlns:a16="http://schemas.microsoft.com/office/drawing/2014/main" id="{2FD588FF-B434-4865-9645-F295045E86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9" name="Freeform 43">
              <a:extLst>
                <a:ext uri="{FF2B5EF4-FFF2-40B4-BE49-F238E27FC236}">
                  <a16:creationId xmlns:a16="http://schemas.microsoft.com/office/drawing/2014/main" id="{19302DA6-B22F-4EF5-A69A-ABD9063A8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0" name="Freeform 44">
              <a:extLst>
                <a:ext uri="{FF2B5EF4-FFF2-40B4-BE49-F238E27FC236}">
                  <a16:creationId xmlns:a16="http://schemas.microsoft.com/office/drawing/2014/main" id="{FE7EC85F-4555-4FCA-8CCD-19C42F488E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1" name="Freeform 45">
              <a:extLst>
                <a:ext uri="{FF2B5EF4-FFF2-40B4-BE49-F238E27FC236}">
                  <a16:creationId xmlns:a16="http://schemas.microsoft.com/office/drawing/2014/main" id="{1962168F-4DE0-46A6-8EFD-C4A1BA3751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2" name="Freeform 46">
              <a:extLst>
                <a:ext uri="{FF2B5EF4-FFF2-40B4-BE49-F238E27FC236}">
                  <a16:creationId xmlns:a16="http://schemas.microsoft.com/office/drawing/2014/main" id="{7B9E10B1-1CAA-4E4C-B256-1BA034A292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3" name="Freeform 47">
              <a:extLst>
                <a:ext uri="{FF2B5EF4-FFF2-40B4-BE49-F238E27FC236}">
                  <a16:creationId xmlns:a16="http://schemas.microsoft.com/office/drawing/2014/main" id="{A8D8148A-C053-4A37-844E-75EF041690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4" name="Freeform 48">
              <a:extLst>
                <a:ext uri="{FF2B5EF4-FFF2-40B4-BE49-F238E27FC236}">
                  <a16:creationId xmlns:a16="http://schemas.microsoft.com/office/drawing/2014/main" id="{A20CEF9E-743B-4F98-9FF0-EBBBC4FEB2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5" name="Freeform 49">
              <a:extLst>
                <a:ext uri="{FF2B5EF4-FFF2-40B4-BE49-F238E27FC236}">
                  <a16:creationId xmlns:a16="http://schemas.microsoft.com/office/drawing/2014/main" id="{B790B20E-FD43-462D-8007-EC2B15D8FC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6" name="Freeform 50">
              <a:extLst>
                <a:ext uri="{FF2B5EF4-FFF2-40B4-BE49-F238E27FC236}">
                  <a16:creationId xmlns:a16="http://schemas.microsoft.com/office/drawing/2014/main" id="{3DCCF01C-7444-4B23-BDF1-D8027642EA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7" name="Freeform 51">
              <a:extLst>
                <a:ext uri="{FF2B5EF4-FFF2-40B4-BE49-F238E27FC236}">
                  <a16:creationId xmlns:a16="http://schemas.microsoft.com/office/drawing/2014/main" id="{9C1F7A58-7A43-4EF6-8310-FC2223E349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8" name="Freeform 52">
              <a:extLst>
                <a:ext uri="{FF2B5EF4-FFF2-40B4-BE49-F238E27FC236}">
                  <a16:creationId xmlns:a16="http://schemas.microsoft.com/office/drawing/2014/main" id="{CFADC32E-9FC7-4E6E-842D-E7A407A37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9" name="Freeform 53">
              <a:extLst>
                <a:ext uri="{FF2B5EF4-FFF2-40B4-BE49-F238E27FC236}">
                  <a16:creationId xmlns:a16="http://schemas.microsoft.com/office/drawing/2014/main" id="{D5B27FA2-8D3C-408A-9480-A049E6D384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0" name="Freeform 54">
              <a:extLst>
                <a:ext uri="{FF2B5EF4-FFF2-40B4-BE49-F238E27FC236}">
                  <a16:creationId xmlns:a16="http://schemas.microsoft.com/office/drawing/2014/main" id="{1FE7A3D8-FB06-4617-BFC5-9D2DCCA8AB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1" name="Freeform 55">
              <a:extLst>
                <a:ext uri="{FF2B5EF4-FFF2-40B4-BE49-F238E27FC236}">
                  <a16:creationId xmlns:a16="http://schemas.microsoft.com/office/drawing/2014/main" id="{465E4A38-A19E-4A38-8E8A-A82D12FA5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2" name="Freeform 56">
              <a:extLst>
                <a:ext uri="{FF2B5EF4-FFF2-40B4-BE49-F238E27FC236}">
                  <a16:creationId xmlns:a16="http://schemas.microsoft.com/office/drawing/2014/main" id="{A1F24538-62EE-43F6-AFF0-9E5AC6235F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3" name="Freeform 57">
              <a:extLst>
                <a:ext uri="{FF2B5EF4-FFF2-40B4-BE49-F238E27FC236}">
                  <a16:creationId xmlns:a16="http://schemas.microsoft.com/office/drawing/2014/main" id="{E45D68DF-3FB9-4397-9E42-B8F0FD2CBC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4" name="Freeform 58">
              <a:extLst>
                <a:ext uri="{FF2B5EF4-FFF2-40B4-BE49-F238E27FC236}">
                  <a16:creationId xmlns:a16="http://schemas.microsoft.com/office/drawing/2014/main" id="{A559BEA7-D8F9-48FE-8B9C-D2CC236311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5" name="Freeform 59">
              <a:extLst>
                <a:ext uri="{FF2B5EF4-FFF2-40B4-BE49-F238E27FC236}">
                  <a16:creationId xmlns:a16="http://schemas.microsoft.com/office/drawing/2014/main" id="{00C3857F-D388-4662-B791-624CEA2D4E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6" name="Freeform 60">
              <a:extLst>
                <a:ext uri="{FF2B5EF4-FFF2-40B4-BE49-F238E27FC236}">
                  <a16:creationId xmlns:a16="http://schemas.microsoft.com/office/drawing/2014/main" id="{509EDC47-72F4-4A73-A0DC-EFEEA7F78B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7" name="Freeform 61">
              <a:extLst>
                <a:ext uri="{FF2B5EF4-FFF2-40B4-BE49-F238E27FC236}">
                  <a16:creationId xmlns:a16="http://schemas.microsoft.com/office/drawing/2014/main" id="{82FD3E03-FA3C-47B4-A46E-1FDBD51C45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8" name="Freeform 62">
              <a:extLst>
                <a:ext uri="{FF2B5EF4-FFF2-40B4-BE49-F238E27FC236}">
                  <a16:creationId xmlns:a16="http://schemas.microsoft.com/office/drawing/2014/main" id="{B71695B0-B6B0-40D5-8FAF-58EC726C64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</p:grp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E3563E49-DAF7-4206-AAD7-38E789258387}"/>
              </a:ext>
            </a:extLst>
          </p:cNvPr>
          <p:cNvSpPr/>
          <p:nvPr userDrawn="1"/>
        </p:nvSpPr>
        <p:spPr>
          <a:xfrm>
            <a:off x="6272240" y="1030147"/>
            <a:ext cx="5919758" cy="5825419"/>
          </a:xfrm>
          <a:custGeom>
            <a:avLst/>
            <a:gdLst>
              <a:gd name="connsiteX0" fmla="*/ 5919758 w 5919758"/>
              <a:gd name="connsiteY0" fmla="*/ 0 h 5825419"/>
              <a:gd name="connsiteX1" fmla="*/ 5919758 w 5919758"/>
              <a:gd name="connsiteY1" fmla="*/ 5825419 h 5825419"/>
              <a:gd name="connsiteX2" fmla="*/ 1120273 w 5919758"/>
              <a:gd name="connsiteY2" fmla="*/ 5825419 h 5825419"/>
              <a:gd name="connsiteX3" fmla="*/ 0 w 5919758"/>
              <a:gd name="connsiteY3" fmla="*/ 1588036 h 582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9758" h="5825419">
                <a:moveTo>
                  <a:pt x="5919758" y="0"/>
                </a:moveTo>
                <a:lnTo>
                  <a:pt x="5919758" y="5825419"/>
                </a:lnTo>
                <a:lnTo>
                  <a:pt x="1120273" y="5825419"/>
                </a:lnTo>
                <a:lnTo>
                  <a:pt x="0" y="1588036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59425" t="-59426" r="-32309" b="-3230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3" name="Text Placeholder 140">
            <a:extLst>
              <a:ext uri="{FF2B5EF4-FFF2-40B4-BE49-F238E27FC236}">
                <a16:creationId xmlns:a16="http://schemas.microsoft.com/office/drawing/2014/main" id="{0BA02072-FEDB-429A-A4C0-22D59D09BF0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3" y="5394937"/>
            <a:ext cx="4772202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bg1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79" name="Text Placeholder 135">
            <a:extLst>
              <a:ext uri="{FF2B5EF4-FFF2-40B4-BE49-F238E27FC236}">
                <a16:creationId xmlns:a16="http://schemas.microsoft.com/office/drawing/2014/main" id="{0ABA4448-A18D-4663-B455-EAD951F8620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28876535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A3F1C04-3200-4425-86D0-2F9E2EAC9EF4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4772203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1200"/>
              </a:spcAft>
              <a:buNone/>
              <a:defRPr sz="3800" b="1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67" name="Group 4">
            <a:extLst>
              <a:ext uri="{FF2B5EF4-FFF2-40B4-BE49-F238E27FC236}">
                <a16:creationId xmlns:a16="http://schemas.microsoft.com/office/drawing/2014/main" id="{17413FA8-B926-4F79-BE67-4D826E05949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21066" y="453777"/>
            <a:ext cx="1662286" cy="1666547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68" name="AutoShape 3">
              <a:extLst>
                <a:ext uri="{FF2B5EF4-FFF2-40B4-BE49-F238E27FC236}">
                  <a16:creationId xmlns:a16="http://schemas.microsoft.com/office/drawing/2014/main" id="{67A0898D-5E9C-4ECA-8716-B27BD4E303A7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69" name="Rectangle 5">
              <a:extLst>
                <a:ext uri="{FF2B5EF4-FFF2-40B4-BE49-F238E27FC236}">
                  <a16:creationId xmlns:a16="http://schemas.microsoft.com/office/drawing/2014/main" id="{239A1E07-3A1C-41F5-92ED-8B3567E0FF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0" name="Freeform 6">
              <a:extLst>
                <a:ext uri="{FF2B5EF4-FFF2-40B4-BE49-F238E27FC236}">
                  <a16:creationId xmlns:a16="http://schemas.microsoft.com/office/drawing/2014/main" id="{E9D6C4A4-2B67-4288-817E-9A4BFFCA30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1" name="Freeform 7">
              <a:extLst>
                <a:ext uri="{FF2B5EF4-FFF2-40B4-BE49-F238E27FC236}">
                  <a16:creationId xmlns:a16="http://schemas.microsoft.com/office/drawing/2014/main" id="{6B8D6F90-2C6B-4628-AE61-C65FEE4878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C0E4DAA6-41BC-4FB2-8CF3-65E9131F42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3" name="Freeform 9">
              <a:extLst>
                <a:ext uri="{FF2B5EF4-FFF2-40B4-BE49-F238E27FC236}">
                  <a16:creationId xmlns:a16="http://schemas.microsoft.com/office/drawing/2014/main" id="{2474DAF8-D7A5-411C-A001-70D5A07D88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4" name="Freeform 10">
              <a:extLst>
                <a:ext uri="{FF2B5EF4-FFF2-40B4-BE49-F238E27FC236}">
                  <a16:creationId xmlns:a16="http://schemas.microsoft.com/office/drawing/2014/main" id="{06B8E519-0572-4B3F-9254-9C405ADACC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5" name="Freeform 11">
              <a:extLst>
                <a:ext uri="{FF2B5EF4-FFF2-40B4-BE49-F238E27FC236}">
                  <a16:creationId xmlns:a16="http://schemas.microsoft.com/office/drawing/2014/main" id="{4DA47499-7EFA-44C7-93C9-40237E640F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6" name="Freeform 12">
              <a:extLst>
                <a:ext uri="{FF2B5EF4-FFF2-40B4-BE49-F238E27FC236}">
                  <a16:creationId xmlns:a16="http://schemas.microsoft.com/office/drawing/2014/main" id="{C8EA471D-6FAF-4C4F-B21D-814C5991B9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7" name="Freeform 13">
              <a:extLst>
                <a:ext uri="{FF2B5EF4-FFF2-40B4-BE49-F238E27FC236}">
                  <a16:creationId xmlns:a16="http://schemas.microsoft.com/office/drawing/2014/main" id="{BEC055FD-07C4-4F86-A926-EFFCD0E704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8" name="Freeform 14">
              <a:extLst>
                <a:ext uri="{FF2B5EF4-FFF2-40B4-BE49-F238E27FC236}">
                  <a16:creationId xmlns:a16="http://schemas.microsoft.com/office/drawing/2014/main" id="{DBC8C3F1-E782-4E33-8648-C0D9005D2F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37" name="Freeform 15">
              <a:extLst>
                <a:ext uri="{FF2B5EF4-FFF2-40B4-BE49-F238E27FC236}">
                  <a16:creationId xmlns:a16="http://schemas.microsoft.com/office/drawing/2014/main" id="{511543D3-2D83-4FA7-A510-0D59ED4DFD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1" name="Freeform 16">
              <a:extLst>
                <a:ext uri="{FF2B5EF4-FFF2-40B4-BE49-F238E27FC236}">
                  <a16:creationId xmlns:a16="http://schemas.microsoft.com/office/drawing/2014/main" id="{5C99A006-6A36-4318-A0F6-FC763AF1FD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2" name="Freeform 17">
              <a:extLst>
                <a:ext uri="{FF2B5EF4-FFF2-40B4-BE49-F238E27FC236}">
                  <a16:creationId xmlns:a16="http://schemas.microsoft.com/office/drawing/2014/main" id="{D65C69B5-F055-4C41-976C-E6733BC98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3" name="Freeform 18">
              <a:extLst>
                <a:ext uri="{FF2B5EF4-FFF2-40B4-BE49-F238E27FC236}">
                  <a16:creationId xmlns:a16="http://schemas.microsoft.com/office/drawing/2014/main" id="{1A3177FB-A0BD-4B08-B181-14A829DF1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4" name="Freeform 19">
              <a:extLst>
                <a:ext uri="{FF2B5EF4-FFF2-40B4-BE49-F238E27FC236}">
                  <a16:creationId xmlns:a16="http://schemas.microsoft.com/office/drawing/2014/main" id="{3528B336-8FBC-4C1E-B4B2-C99449F8E8B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5" name="Freeform 20">
              <a:extLst>
                <a:ext uri="{FF2B5EF4-FFF2-40B4-BE49-F238E27FC236}">
                  <a16:creationId xmlns:a16="http://schemas.microsoft.com/office/drawing/2014/main" id="{BD4F46C1-2FE6-44C8-A55E-45E98246F6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8" name="Rectangle 21">
              <a:extLst>
                <a:ext uri="{FF2B5EF4-FFF2-40B4-BE49-F238E27FC236}">
                  <a16:creationId xmlns:a16="http://schemas.microsoft.com/office/drawing/2014/main" id="{09DD4248-B5EF-40DF-AEE7-8BD9A8A741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9" name="Freeform 22">
              <a:extLst>
                <a:ext uri="{FF2B5EF4-FFF2-40B4-BE49-F238E27FC236}">
                  <a16:creationId xmlns:a16="http://schemas.microsoft.com/office/drawing/2014/main" id="{0EF4CE3A-3112-407D-B00C-337ACD7FDA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0" name="Freeform 23">
              <a:extLst>
                <a:ext uri="{FF2B5EF4-FFF2-40B4-BE49-F238E27FC236}">
                  <a16:creationId xmlns:a16="http://schemas.microsoft.com/office/drawing/2014/main" id="{EEE8532D-E6E7-4BD0-9A45-58E8A1A93D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1" name="Freeform 24">
              <a:extLst>
                <a:ext uri="{FF2B5EF4-FFF2-40B4-BE49-F238E27FC236}">
                  <a16:creationId xmlns:a16="http://schemas.microsoft.com/office/drawing/2014/main" id="{2B2B85B8-C753-425A-ACC5-3B2B2268FE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2" name="Freeform 25">
              <a:extLst>
                <a:ext uri="{FF2B5EF4-FFF2-40B4-BE49-F238E27FC236}">
                  <a16:creationId xmlns:a16="http://schemas.microsoft.com/office/drawing/2014/main" id="{023916B4-1AD7-4055-9353-DB438003EF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3" name="Freeform 26">
              <a:extLst>
                <a:ext uri="{FF2B5EF4-FFF2-40B4-BE49-F238E27FC236}">
                  <a16:creationId xmlns:a16="http://schemas.microsoft.com/office/drawing/2014/main" id="{6D2086AF-BC95-4BE8-AB84-A66F4C80A6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4" name="Freeform 27">
              <a:extLst>
                <a:ext uri="{FF2B5EF4-FFF2-40B4-BE49-F238E27FC236}">
                  <a16:creationId xmlns:a16="http://schemas.microsoft.com/office/drawing/2014/main" id="{E7A147C6-9FDA-4D95-A42A-92861D17D6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5" name="Freeform 28">
              <a:extLst>
                <a:ext uri="{FF2B5EF4-FFF2-40B4-BE49-F238E27FC236}">
                  <a16:creationId xmlns:a16="http://schemas.microsoft.com/office/drawing/2014/main" id="{45D5BF2A-EF85-417C-B03F-30CEAE118D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6" name="Freeform 29">
              <a:extLst>
                <a:ext uri="{FF2B5EF4-FFF2-40B4-BE49-F238E27FC236}">
                  <a16:creationId xmlns:a16="http://schemas.microsoft.com/office/drawing/2014/main" id="{795098EC-2ACB-4C39-AA2D-A12FF06BA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7" name="Freeform 30">
              <a:extLst>
                <a:ext uri="{FF2B5EF4-FFF2-40B4-BE49-F238E27FC236}">
                  <a16:creationId xmlns:a16="http://schemas.microsoft.com/office/drawing/2014/main" id="{447048D5-71A3-4A33-9E51-0388E2EC90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8" name="Freeform 31">
              <a:extLst>
                <a:ext uri="{FF2B5EF4-FFF2-40B4-BE49-F238E27FC236}">
                  <a16:creationId xmlns:a16="http://schemas.microsoft.com/office/drawing/2014/main" id="{5866A8C0-C096-47DA-9C8E-D82E74E47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9" name="Freeform 32">
              <a:extLst>
                <a:ext uri="{FF2B5EF4-FFF2-40B4-BE49-F238E27FC236}">
                  <a16:creationId xmlns:a16="http://schemas.microsoft.com/office/drawing/2014/main" id="{4B91E936-1F6C-4BAE-9F8C-2A198926D7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0" name="Freeform 34">
              <a:extLst>
                <a:ext uri="{FF2B5EF4-FFF2-40B4-BE49-F238E27FC236}">
                  <a16:creationId xmlns:a16="http://schemas.microsoft.com/office/drawing/2014/main" id="{88823701-A9F3-4323-AD0C-A2AD4BE0B9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1" name="Freeform 35">
              <a:extLst>
                <a:ext uri="{FF2B5EF4-FFF2-40B4-BE49-F238E27FC236}">
                  <a16:creationId xmlns:a16="http://schemas.microsoft.com/office/drawing/2014/main" id="{C495104A-F915-4B0C-961E-EF42EEA3C8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2" name="Freeform 36">
              <a:extLst>
                <a:ext uri="{FF2B5EF4-FFF2-40B4-BE49-F238E27FC236}">
                  <a16:creationId xmlns:a16="http://schemas.microsoft.com/office/drawing/2014/main" id="{6A51DB3B-303A-4D1F-A5E4-A76D700245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3" name="Freeform 37">
              <a:extLst>
                <a:ext uri="{FF2B5EF4-FFF2-40B4-BE49-F238E27FC236}">
                  <a16:creationId xmlns:a16="http://schemas.microsoft.com/office/drawing/2014/main" id="{E2E2D34A-EEA4-4A9C-81F3-B794F5CEFE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4" name="Freeform 38">
              <a:extLst>
                <a:ext uri="{FF2B5EF4-FFF2-40B4-BE49-F238E27FC236}">
                  <a16:creationId xmlns:a16="http://schemas.microsoft.com/office/drawing/2014/main" id="{8B3BECFC-710D-46F1-96FF-B5371F927C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5" name="Freeform 39">
              <a:extLst>
                <a:ext uri="{FF2B5EF4-FFF2-40B4-BE49-F238E27FC236}">
                  <a16:creationId xmlns:a16="http://schemas.microsoft.com/office/drawing/2014/main" id="{90665531-8DF2-4759-B8DB-FEF6D91D48E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6" name="Freeform 40">
              <a:extLst>
                <a:ext uri="{FF2B5EF4-FFF2-40B4-BE49-F238E27FC236}">
                  <a16:creationId xmlns:a16="http://schemas.microsoft.com/office/drawing/2014/main" id="{26F566F5-E589-4F94-81DD-DD2CA39F85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7" name="Freeform 41">
              <a:extLst>
                <a:ext uri="{FF2B5EF4-FFF2-40B4-BE49-F238E27FC236}">
                  <a16:creationId xmlns:a16="http://schemas.microsoft.com/office/drawing/2014/main" id="{AD2F1B90-FBA5-468A-ADE5-6AF4A84870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8" name="Freeform 42">
              <a:extLst>
                <a:ext uri="{FF2B5EF4-FFF2-40B4-BE49-F238E27FC236}">
                  <a16:creationId xmlns:a16="http://schemas.microsoft.com/office/drawing/2014/main" id="{2FD588FF-B434-4865-9645-F295045E86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9" name="Freeform 43">
              <a:extLst>
                <a:ext uri="{FF2B5EF4-FFF2-40B4-BE49-F238E27FC236}">
                  <a16:creationId xmlns:a16="http://schemas.microsoft.com/office/drawing/2014/main" id="{19302DA6-B22F-4EF5-A69A-ABD9063A8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0" name="Freeform 44">
              <a:extLst>
                <a:ext uri="{FF2B5EF4-FFF2-40B4-BE49-F238E27FC236}">
                  <a16:creationId xmlns:a16="http://schemas.microsoft.com/office/drawing/2014/main" id="{FE7EC85F-4555-4FCA-8CCD-19C42F488E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1" name="Freeform 45">
              <a:extLst>
                <a:ext uri="{FF2B5EF4-FFF2-40B4-BE49-F238E27FC236}">
                  <a16:creationId xmlns:a16="http://schemas.microsoft.com/office/drawing/2014/main" id="{1962168F-4DE0-46A6-8EFD-C4A1BA3751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2" name="Freeform 46">
              <a:extLst>
                <a:ext uri="{FF2B5EF4-FFF2-40B4-BE49-F238E27FC236}">
                  <a16:creationId xmlns:a16="http://schemas.microsoft.com/office/drawing/2014/main" id="{7B9E10B1-1CAA-4E4C-B256-1BA034A292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3" name="Freeform 47">
              <a:extLst>
                <a:ext uri="{FF2B5EF4-FFF2-40B4-BE49-F238E27FC236}">
                  <a16:creationId xmlns:a16="http://schemas.microsoft.com/office/drawing/2014/main" id="{A8D8148A-C053-4A37-844E-75EF041690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4" name="Freeform 48">
              <a:extLst>
                <a:ext uri="{FF2B5EF4-FFF2-40B4-BE49-F238E27FC236}">
                  <a16:creationId xmlns:a16="http://schemas.microsoft.com/office/drawing/2014/main" id="{A20CEF9E-743B-4F98-9FF0-EBBBC4FEB2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5" name="Freeform 49">
              <a:extLst>
                <a:ext uri="{FF2B5EF4-FFF2-40B4-BE49-F238E27FC236}">
                  <a16:creationId xmlns:a16="http://schemas.microsoft.com/office/drawing/2014/main" id="{B790B20E-FD43-462D-8007-EC2B15D8FC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6" name="Freeform 50">
              <a:extLst>
                <a:ext uri="{FF2B5EF4-FFF2-40B4-BE49-F238E27FC236}">
                  <a16:creationId xmlns:a16="http://schemas.microsoft.com/office/drawing/2014/main" id="{3DCCF01C-7444-4B23-BDF1-D8027642EA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7" name="Freeform 51">
              <a:extLst>
                <a:ext uri="{FF2B5EF4-FFF2-40B4-BE49-F238E27FC236}">
                  <a16:creationId xmlns:a16="http://schemas.microsoft.com/office/drawing/2014/main" id="{9C1F7A58-7A43-4EF6-8310-FC2223E349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8" name="Freeform 52">
              <a:extLst>
                <a:ext uri="{FF2B5EF4-FFF2-40B4-BE49-F238E27FC236}">
                  <a16:creationId xmlns:a16="http://schemas.microsoft.com/office/drawing/2014/main" id="{CFADC32E-9FC7-4E6E-842D-E7A407A37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9" name="Freeform 53">
              <a:extLst>
                <a:ext uri="{FF2B5EF4-FFF2-40B4-BE49-F238E27FC236}">
                  <a16:creationId xmlns:a16="http://schemas.microsoft.com/office/drawing/2014/main" id="{D5B27FA2-8D3C-408A-9480-A049E6D384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0" name="Freeform 54">
              <a:extLst>
                <a:ext uri="{FF2B5EF4-FFF2-40B4-BE49-F238E27FC236}">
                  <a16:creationId xmlns:a16="http://schemas.microsoft.com/office/drawing/2014/main" id="{1FE7A3D8-FB06-4617-BFC5-9D2DCCA8AB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1" name="Freeform 55">
              <a:extLst>
                <a:ext uri="{FF2B5EF4-FFF2-40B4-BE49-F238E27FC236}">
                  <a16:creationId xmlns:a16="http://schemas.microsoft.com/office/drawing/2014/main" id="{465E4A38-A19E-4A38-8E8A-A82D12FA5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2" name="Freeform 56">
              <a:extLst>
                <a:ext uri="{FF2B5EF4-FFF2-40B4-BE49-F238E27FC236}">
                  <a16:creationId xmlns:a16="http://schemas.microsoft.com/office/drawing/2014/main" id="{A1F24538-62EE-43F6-AFF0-9E5AC6235F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3" name="Freeform 57">
              <a:extLst>
                <a:ext uri="{FF2B5EF4-FFF2-40B4-BE49-F238E27FC236}">
                  <a16:creationId xmlns:a16="http://schemas.microsoft.com/office/drawing/2014/main" id="{E45D68DF-3FB9-4397-9E42-B8F0FD2CBC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4" name="Freeform 58">
              <a:extLst>
                <a:ext uri="{FF2B5EF4-FFF2-40B4-BE49-F238E27FC236}">
                  <a16:creationId xmlns:a16="http://schemas.microsoft.com/office/drawing/2014/main" id="{A559BEA7-D8F9-48FE-8B9C-D2CC236311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5" name="Freeform 59">
              <a:extLst>
                <a:ext uri="{FF2B5EF4-FFF2-40B4-BE49-F238E27FC236}">
                  <a16:creationId xmlns:a16="http://schemas.microsoft.com/office/drawing/2014/main" id="{00C3857F-D388-4662-B791-624CEA2D4E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6" name="Freeform 60">
              <a:extLst>
                <a:ext uri="{FF2B5EF4-FFF2-40B4-BE49-F238E27FC236}">
                  <a16:creationId xmlns:a16="http://schemas.microsoft.com/office/drawing/2014/main" id="{509EDC47-72F4-4A73-A0DC-EFEEA7F78B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7" name="Freeform 61">
              <a:extLst>
                <a:ext uri="{FF2B5EF4-FFF2-40B4-BE49-F238E27FC236}">
                  <a16:creationId xmlns:a16="http://schemas.microsoft.com/office/drawing/2014/main" id="{82FD3E03-FA3C-47B4-A46E-1FDBD51C45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8" name="Freeform 62">
              <a:extLst>
                <a:ext uri="{FF2B5EF4-FFF2-40B4-BE49-F238E27FC236}">
                  <a16:creationId xmlns:a16="http://schemas.microsoft.com/office/drawing/2014/main" id="{B71695B0-B6B0-40D5-8FAF-58EC726C64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</p:grp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0176FAE9-F8D7-45AD-AA56-97F65AF5C7CF}"/>
              </a:ext>
            </a:extLst>
          </p:cNvPr>
          <p:cNvSpPr/>
          <p:nvPr userDrawn="1"/>
        </p:nvSpPr>
        <p:spPr>
          <a:xfrm>
            <a:off x="6272240" y="1030147"/>
            <a:ext cx="5919758" cy="5825419"/>
          </a:xfrm>
          <a:custGeom>
            <a:avLst/>
            <a:gdLst>
              <a:gd name="connsiteX0" fmla="*/ 5919758 w 5919758"/>
              <a:gd name="connsiteY0" fmla="*/ 0 h 5825419"/>
              <a:gd name="connsiteX1" fmla="*/ 5919758 w 5919758"/>
              <a:gd name="connsiteY1" fmla="*/ 5825419 h 5825419"/>
              <a:gd name="connsiteX2" fmla="*/ 1120273 w 5919758"/>
              <a:gd name="connsiteY2" fmla="*/ 5825419 h 5825419"/>
              <a:gd name="connsiteX3" fmla="*/ 0 w 5919758"/>
              <a:gd name="connsiteY3" fmla="*/ 1588036 h 582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9758" h="5825419">
                <a:moveTo>
                  <a:pt x="5919758" y="0"/>
                </a:moveTo>
                <a:lnTo>
                  <a:pt x="5919758" y="5825419"/>
                </a:lnTo>
                <a:lnTo>
                  <a:pt x="1120273" y="5825419"/>
                </a:lnTo>
                <a:lnTo>
                  <a:pt x="0" y="1588036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32409" t="-42275" r="-52944" b="-4307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3" name="Text Placeholder 140">
            <a:extLst>
              <a:ext uri="{FF2B5EF4-FFF2-40B4-BE49-F238E27FC236}">
                <a16:creationId xmlns:a16="http://schemas.microsoft.com/office/drawing/2014/main" id="{7B87D9FE-C85C-4214-9157-DD7F3ED28A3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3" y="5394937"/>
            <a:ext cx="4772202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bg1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79" name="Text Placeholder 135">
            <a:extLst>
              <a:ext uri="{FF2B5EF4-FFF2-40B4-BE49-F238E27FC236}">
                <a16:creationId xmlns:a16="http://schemas.microsoft.com/office/drawing/2014/main" id="{315BBA84-73B3-48DF-B6EE-69867E46B6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33873191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A3F1C04-3200-4425-86D0-2F9E2EAC9EF4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4772203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1200"/>
              </a:spcAft>
              <a:buNone/>
              <a:defRPr sz="3800" b="1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67" name="Group 4">
            <a:extLst>
              <a:ext uri="{FF2B5EF4-FFF2-40B4-BE49-F238E27FC236}">
                <a16:creationId xmlns:a16="http://schemas.microsoft.com/office/drawing/2014/main" id="{17413FA8-B926-4F79-BE67-4D826E05949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21066" y="453777"/>
            <a:ext cx="1662286" cy="1666547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68" name="AutoShape 3">
              <a:extLst>
                <a:ext uri="{FF2B5EF4-FFF2-40B4-BE49-F238E27FC236}">
                  <a16:creationId xmlns:a16="http://schemas.microsoft.com/office/drawing/2014/main" id="{67A0898D-5E9C-4ECA-8716-B27BD4E303A7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69" name="Rectangle 5">
              <a:extLst>
                <a:ext uri="{FF2B5EF4-FFF2-40B4-BE49-F238E27FC236}">
                  <a16:creationId xmlns:a16="http://schemas.microsoft.com/office/drawing/2014/main" id="{239A1E07-3A1C-41F5-92ED-8B3567E0FF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0" name="Freeform 6">
              <a:extLst>
                <a:ext uri="{FF2B5EF4-FFF2-40B4-BE49-F238E27FC236}">
                  <a16:creationId xmlns:a16="http://schemas.microsoft.com/office/drawing/2014/main" id="{E9D6C4A4-2B67-4288-817E-9A4BFFCA30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1" name="Freeform 7">
              <a:extLst>
                <a:ext uri="{FF2B5EF4-FFF2-40B4-BE49-F238E27FC236}">
                  <a16:creationId xmlns:a16="http://schemas.microsoft.com/office/drawing/2014/main" id="{6B8D6F90-2C6B-4628-AE61-C65FEE4878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C0E4DAA6-41BC-4FB2-8CF3-65E9131F42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3" name="Freeform 9">
              <a:extLst>
                <a:ext uri="{FF2B5EF4-FFF2-40B4-BE49-F238E27FC236}">
                  <a16:creationId xmlns:a16="http://schemas.microsoft.com/office/drawing/2014/main" id="{2474DAF8-D7A5-411C-A001-70D5A07D88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4" name="Freeform 10">
              <a:extLst>
                <a:ext uri="{FF2B5EF4-FFF2-40B4-BE49-F238E27FC236}">
                  <a16:creationId xmlns:a16="http://schemas.microsoft.com/office/drawing/2014/main" id="{06B8E519-0572-4B3F-9254-9C405ADACC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5" name="Freeform 11">
              <a:extLst>
                <a:ext uri="{FF2B5EF4-FFF2-40B4-BE49-F238E27FC236}">
                  <a16:creationId xmlns:a16="http://schemas.microsoft.com/office/drawing/2014/main" id="{4DA47499-7EFA-44C7-93C9-40237E640F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6" name="Freeform 12">
              <a:extLst>
                <a:ext uri="{FF2B5EF4-FFF2-40B4-BE49-F238E27FC236}">
                  <a16:creationId xmlns:a16="http://schemas.microsoft.com/office/drawing/2014/main" id="{C8EA471D-6FAF-4C4F-B21D-814C5991B9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7" name="Freeform 13">
              <a:extLst>
                <a:ext uri="{FF2B5EF4-FFF2-40B4-BE49-F238E27FC236}">
                  <a16:creationId xmlns:a16="http://schemas.microsoft.com/office/drawing/2014/main" id="{BEC055FD-07C4-4F86-A926-EFFCD0E704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8" name="Freeform 14">
              <a:extLst>
                <a:ext uri="{FF2B5EF4-FFF2-40B4-BE49-F238E27FC236}">
                  <a16:creationId xmlns:a16="http://schemas.microsoft.com/office/drawing/2014/main" id="{DBC8C3F1-E782-4E33-8648-C0D9005D2F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37" name="Freeform 15">
              <a:extLst>
                <a:ext uri="{FF2B5EF4-FFF2-40B4-BE49-F238E27FC236}">
                  <a16:creationId xmlns:a16="http://schemas.microsoft.com/office/drawing/2014/main" id="{511543D3-2D83-4FA7-A510-0D59ED4DFD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1" name="Freeform 16">
              <a:extLst>
                <a:ext uri="{FF2B5EF4-FFF2-40B4-BE49-F238E27FC236}">
                  <a16:creationId xmlns:a16="http://schemas.microsoft.com/office/drawing/2014/main" id="{5C99A006-6A36-4318-A0F6-FC763AF1FD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2" name="Freeform 17">
              <a:extLst>
                <a:ext uri="{FF2B5EF4-FFF2-40B4-BE49-F238E27FC236}">
                  <a16:creationId xmlns:a16="http://schemas.microsoft.com/office/drawing/2014/main" id="{D65C69B5-F055-4C41-976C-E6733BC98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3" name="Freeform 18">
              <a:extLst>
                <a:ext uri="{FF2B5EF4-FFF2-40B4-BE49-F238E27FC236}">
                  <a16:creationId xmlns:a16="http://schemas.microsoft.com/office/drawing/2014/main" id="{1A3177FB-A0BD-4B08-B181-14A829DF1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4" name="Freeform 19">
              <a:extLst>
                <a:ext uri="{FF2B5EF4-FFF2-40B4-BE49-F238E27FC236}">
                  <a16:creationId xmlns:a16="http://schemas.microsoft.com/office/drawing/2014/main" id="{3528B336-8FBC-4C1E-B4B2-C99449F8E8B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5" name="Freeform 20">
              <a:extLst>
                <a:ext uri="{FF2B5EF4-FFF2-40B4-BE49-F238E27FC236}">
                  <a16:creationId xmlns:a16="http://schemas.microsoft.com/office/drawing/2014/main" id="{BD4F46C1-2FE6-44C8-A55E-45E98246F6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8" name="Rectangle 21">
              <a:extLst>
                <a:ext uri="{FF2B5EF4-FFF2-40B4-BE49-F238E27FC236}">
                  <a16:creationId xmlns:a16="http://schemas.microsoft.com/office/drawing/2014/main" id="{09DD4248-B5EF-40DF-AEE7-8BD9A8A741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9" name="Freeform 22">
              <a:extLst>
                <a:ext uri="{FF2B5EF4-FFF2-40B4-BE49-F238E27FC236}">
                  <a16:creationId xmlns:a16="http://schemas.microsoft.com/office/drawing/2014/main" id="{0EF4CE3A-3112-407D-B00C-337ACD7FDA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0" name="Freeform 23">
              <a:extLst>
                <a:ext uri="{FF2B5EF4-FFF2-40B4-BE49-F238E27FC236}">
                  <a16:creationId xmlns:a16="http://schemas.microsoft.com/office/drawing/2014/main" id="{EEE8532D-E6E7-4BD0-9A45-58E8A1A93D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1" name="Freeform 24">
              <a:extLst>
                <a:ext uri="{FF2B5EF4-FFF2-40B4-BE49-F238E27FC236}">
                  <a16:creationId xmlns:a16="http://schemas.microsoft.com/office/drawing/2014/main" id="{2B2B85B8-C753-425A-ACC5-3B2B2268FE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2" name="Freeform 25">
              <a:extLst>
                <a:ext uri="{FF2B5EF4-FFF2-40B4-BE49-F238E27FC236}">
                  <a16:creationId xmlns:a16="http://schemas.microsoft.com/office/drawing/2014/main" id="{023916B4-1AD7-4055-9353-DB438003EF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3" name="Freeform 26">
              <a:extLst>
                <a:ext uri="{FF2B5EF4-FFF2-40B4-BE49-F238E27FC236}">
                  <a16:creationId xmlns:a16="http://schemas.microsoft.com/office/drawing/2014/main" id="{6D2086AF-BC95-4BE8-AB84-A66F4C80A6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4" name="Freeform 27">
              <a:extLst>
                <a:ext uri="{FF2B5EF4-FFF2-40B4-BE49-F238E27FC236}">
                  <a16:creationId xmlns:a16="http://schemas.microsoft.com/office/drawing/2014/main" id="{E7A147C6-9FDA-4D95-A42A-92861D17D6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5" name="Freeform 28">
              <a:extLst>
                <a:ext uri="{FF2B5EF4-FFF2-40B4-BE49-F238E27FC236}">
                  <a16:creationId xmlns:a16="http://schemas.microsoft.com/office/drawing/2014/main" id="{45D5BF2A-EF85-417C-B03F-30CEAE118D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6" name="Freeform 29">
              <a:extLst>
                <a:ext uri="{FF2B5EF4-FFF2-40B4-BE49-F238E27FC236}">
                  <a16:creationId xmlns:a16="http://schemas.microsoft.com/office/drawing/2014/main" id="{795098EC-2ACB-4C39-AA2D-A12FF06BA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7" name="Freeform 30">
              <a:extLst>
                <a:ext uri="{FF2B5EF4-FFF2-40B4-BE49-F238E27FC236}">
                  <a16:creationId xmlns:a16="http://schemas.microsoft.com/office/drawing/2014/main" id="{447048D5-71A3-4A33-9E51-0388E2EC90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8" name="Freeform 31">
              <a:extLst>
                <a:ext uri="{FF2B5EF4-FFF2-40B4-BE49-F238E27FC236}">
                  <a16:creationId xmlns:a16="http://schemas.microsoft.com/office/drawing/2014/main" id="{5866A8C0-C096-47DA-9C8E-D82E74E47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9" name="Freeform 32">
              <a:extLst>
                <a:ext uri="{FF2B5EF4-FFF2-40B4-BE49-F238E27FC236}">
                  <a16:creationId xmlns:a16="http://schemas.microsoft.com/office/drawing/2014/main" id="{4B91E936-1F6C-4BAE-9F8C-2A198926D7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0" name="Freeform 34">
              <a:extLst>
                <a:ext uri="{FF2B5EF4-FFF2-40B4-BE49-F238E27FC236}">
                  <a16:creationId xmlns:a16="http://schemas.microsoft.com/office/drawing/2014/main" id="{88823701-A9F3-4323-AD0C-A2AD4BE0B9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1" name="Freeform 35">
              <a:extLst>
                <a:ext uri="{FF2B5EF4-FFF2-40B4-BE49-F238E27FC236}">
                  <a16:creationId xmlns:a16="http://schemas.microsoft.com/office/drawing/2014/main" id="{C495104A-F915-4B0C-961E-EF42EEA3C8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2" name="Freeform 36">
              <a:extLst>
                <a:ext uri="{FF2B5EF4-FFF2-40B4-BE49-F238E27FC236}">
                  <a16:creationId xmlns:a16="http://schemas.microsoft.com/office/drawing/2014/main" id="{6A51DB3B-303A-4D1F-A5E4-A76D700245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3" name="Freeform 37">
              <a:extLst>
                <a:ext uri="{FF2B5EF4-FFF2-40B4-BE49-F238E27FC236}">
                  <a16:creationId xmlns:a16="http://schemas.microsoft.com/office/drawing/2014/main" id="{E2E2D34A-EEA4-4A9C-81F3-B794F5CEFE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4" name="Freeform 38">
              <a:extLst>
                <a:ext uri="{FF2B5EF4-FFF2-40B4-BE49-F238E27FC236}">
                  <a16:creationId xmlns:a16="http://schemas.microsoft.com/office/drawing/2014/main" id="{8B3BECFC-710D-46F1-96FF-B5371F927C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5" name="Freeform 39">
              <a:extLst>
                <a:ext uri="{FF2B5EF4-FFF2-40B4-BE49-F238E27FC236}">
                  <a16:creationId xmlns:a16="http://schemas.microsoft.com/office/drawing/2014/main" id="{90665531-8DF2-4759-B8DB-FEF6D91D48E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6" name="Freeform 40">
              <a:extLst>
                <a:ext uri="{FF2B5EF4-FFF2-40B4-BE49-F238E27FC236}">
                  <a16:creationId xmlns:a16="http://schemas.microsoft.com/office/drawing/2014/main" id="{26F566F5-E589-4F94-81DD-DD2CA39F85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7" name="Freeform 41">
              <a:extLst>
                <a:ext uri="{FF2B5EF4-FFF2-40B4-BE49-F238E27FC236}">
                  <a16:creationId xmlns:a16="http://schemas.microsoft.com/office/drawing/2014/main" id="{AD2F1B90-FBA5-468A-ADE5-6AF4A84870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8" name="Freeform 42">
              <a:extLst>
                <a:ext uri="{FF2B5EF4-FFF2-40B4-BE49-F238E27FC236}">
                  <a16:creationId xmlns:a16="http://schemas.microsoft.com/office/drawing/2014/main" id="{2FD588FF-B434-4865-9645-F295045E86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9" name="Freeform 43">
              <a:extLst>
                <a:ext uri="{FF2B5EF4-FFF2-40B4-BE49-F238E27FC236}">
                  <a16:creationId xmlns:a16="http://schemas.microsoft.com/office/drawing/2014/main" id="{19302DA6-B22F-4EF5-A69A-ABD9063A8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0" name="Freeform 44">
              <a:extLst>
                <a:ext uri="{FF2B5EF4-FFF2-40B4-BE49-F238E27FC236}">
                  <a16:creationId xmlns:a16="http://schemas.microsoft.com/office/drawing/2014/main" id="{FE7EC85F-4555-4FCA-8CCD-19C42F488E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1" name="Freeform 45">
              <a:extLst>
                <a:ext uri="{FF2B5EF4-FFF2-40B4-BE49-F238E27FC236}">
                  <a16:creationId xmlns:a16="http://schemas.microsoft.com/office/drawing/2014/main" id="{1962168F-4DE0-46A6-8EFD-C4A1BA3751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2" name="Freeform 46">
              <a:extLst>
                <a:ext uri="{FF2B5EF4-FFF2-40B4-BE49-F238E27FC236}">
                  <a16:creationId xmlns:a16="http://schemas.microsoft.com/office/drawing/2014/main" id="{7B9E10B1-1CAA-4E4C-B256-1BA034A292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3" name="Freeform 47">
              <a:extLst>
                <a:ext uri="{FF2B5EF4-FFF2-40B4-BE49-F238E27FC236}">
                  <a16:creationId xmlns:a16="http://schemas.microsoft.com/office/drawing/2014/main" id="{A8D8148A-C053-4A37-844E-75EF041690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4" name="Freeform 48">
              <a:extLst>
                <a:ext uri="{FF2B5EF4-FFF2-40B4-BE49-F238E27FC236}">
                  <a16:creationId xmlns:a16="http://schemas.microsoft.com/office/drawing/2014/main" id="{A20CEF9E-743B-4F98-9FF0-EBBBC4FEB2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5" name="Freeform 49">
              <a:extLst>
                <a:ext uri="{FF2B5EF4-FFF2-40B4-BE49-F238E27FC236}">
                  <a16:creationId xmlns:a16="http://schemas.microsoft.com/office/drawing/2014/main" id="{B790B20E-FD43-462D-8007-EC2B15D8FC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6" name="Freeform 50">
              <a:extLst>
                <a:ext uri="{FF2B5EF4-FFF2-40B4-BE49-F238E27FC236}">
                  <a16:creationId xmlns:a16="http://schemas.microsoft.com/office/drawing/2014/main" id="{3DCCF01C-7444-4B23-BDF1-D8027642EA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7" name="Freeform 51">
              <a:extLst>
                <a:ext uri="{FF2B5EF4-FFF2-40B4-BE49-F238E27FC236}">
                  <a16:creationId xmlns:a16="http://schemas.microsoft.com/office/drawing/2014/main" id="{9C1F7A58-7A43-4EF6-8310-FC2223E349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8" name="Freeform 52">
              <a:extLst>
                <a:ext uri="{FF2B5EF4-FFF2-40B4-BE49-F238E27FC236}">
                  <a16:creationId xmlns:a16="http://schemas.microsoft.com/office/drawing/2014/main" id="{CFADC32E-9FC7-4E6E-842D-E7A407A37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9" name="Freeform 53">
              <a:extLst>
                <a:ext uri="{FF2B5EF4-FFF2-40B4-BE49-F238E27FC236}">
                  <a16:creationId xmlns:a16="http://schemas.microsoft.com/office/drawing/2014/main" id="{D5B27FA2-8D3C-408A-9480-A049E6D384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0" name="Freeform 54">
              <a:extLst>
                <a:ext uri="{FF2B5EF4-FFF2-40B4-BE49-F238E27FC236}">
                  <a16:creationId xmlns:a16="http://schemas.microsoft.com/office/drawing/2014/main" id="{1FE7A3D8-FB06-4617-BFC5-9D2DCCA8AB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1" name="Freeform 55">
              <a:extLst>
                <a:ext uri="{FF2B5EF4-FFF2-40B4-BE49-F238E27FC236}">
                  <a16:creationId xmlns:a16="http://schemas.microsoft.com/office/drawing/2014/main" id="{465E4A38-A19E-4A38-8E8A-A82D12FA5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2" name="Freeform 56">
              <a:extLst>
                <a:ext uri="{FF2B5EF4-FFF2-40B4-BE49-F238E27FC236}">
                  <a16:creationId xmlns:a16="http://schemas.microsoft.com/office/drawing/2014/main" id="{A1F24538-62EE-43F6-AFF0-9E5AC6235F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3" name="Freeform 57">
              <a:extLst>
                <a:ext uri="{FF2B5EF4-FFF2-40B4-BE49-F238E27FC236}">
                  <a16:creationId xmlns:a16="http://schemas.microsoft.com/office/drawing/2014/main" id="{E45D68DF-3FB9-4397-9E42-B8F0FD2CBC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4" name="Freeform 58">
              <a:extLst>
                <a:ext uri="{FF2B5EF4-FFF2-40B4-BE49-F238E27FC236}">
                  <a16:creationId xmlns:a16="http://schemas.microsoft.com/office/drawing/2014/main" id="{A559BEA7-D8F9-48FE-8B9C-D2CC236311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5" name="Freeform 59">
              <a:extLst>
                <a:ext uri="{FF2B5EF4-FFF2-40B4-BE49-F238E27FC236}">
                  <a16:creationId xmlns:a16="http://schemas.microsoft.com/office/drawing/2014/main" id="{00C3857F-D388-4662-B791-624CEA2D4E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6" name="Freeform 60">
              <a:extLst>
                <a:ext uri="{FF2B5EF4-FFF2-40B4-BE49-F238E27FC236}">
                  <a16:creationId xmlns:a16="http://schemas.microsoft.com/office/drawing/2014/main" id="{509EDC47-72F4-4A73-A0DC-EFEEA7F78B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7" name="Freeform 61">
              <a:extLst>
                <a:ext uri="{FF2B5EF4-FFF2-40B4-BE49-F238E27FC236}">
                  <a16:creationId xmlns:a16="http://schemas.microsoft.com/office/drawing/2014/main" id="{82FD3E03-FA3C-47B4-A46E-1FDBD51C45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8" name="Freeform 62">
              <a:extLst>
                <a:ext uri="{FF2B5EF4-FFF2-40B4-BE49-F238E27FC236}">
                  <a16:creationId xmlns:a16="http://schemas.microsoft.com/office/drawing/2014/main" id="{B71695B0-B6B0-40D5-8FAF-58EC726C64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</p:grp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229705A0-38F7-4A9C-86A4-2F68DE74B02E}"/>
              </a:ext>
            </a:extLst>
          </p:cNvPr>
          <p:cNvSpPr/>
          <p:nvPr userDrawn="1"/>
        </p:nvSpPr>
        <p:spPr>
          <a:xfrm>
            <a:off x="6272240" y="1030147"/>
            <a:ext cx="5919758" cy="5825419"/>
          </a:xfrm>
          <a:custGeom>
            <a:avLst/>
            <a:gdLst>
              <a:gd name="connsiteX0" fmla="*/ 5919758 w 5919758"/>
              <a:gd name="connsiteY0" fmla="*/ 0 h 5825419"/>
              <a:gd name="connsiteX1" fmla="*/ 5919758 w 5919758"/>
              <a:gd name="connsiteY1" fmla="*/ 5825419 h 5825419"/>
              <a:gd name="connsiteX2" fmla="*/ 1120273 w 5919758"/>
              <a:gd name="connsiteY2" fmla="*/ 5825419 h 5825419"/>
              <a:gd name="connsiteX3" fmla="*/ 0 w 5919758"/>
              <a:gd name="connsiteY3" fmla="*/ 1588036 h 582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9758" h="5825419">
                <a:moveTo>
                  <a:pt x="5919758" y="0"/>
                </a:moveTo>
                <a:lnTo>
                  <a:pt x="5919758" y="5825419"/>
                </a:lnTo>
                <a:lnTo>
                  <a:pt x="1120273" y="5825419"/>
                </a:lnTo>
                <a:lnTo>
                  <a:pt x="0" y="1588036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8781" t="-8782" r="-19370" b="-1936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3" name="Text Placeholder 140">
            <a:extLst>
              <a:ext uri="{FF2B5EF4-FFF2-40B4-BE49-F238E27FC236}">
                <a16:creationId xmlns:a16="http://schemas.microsoft.com/office/drawing/2014/main" id="{4D897568-993B-4A02-A134-6722AC6A98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3" y="5394937"/>
            <a:ext cx="4772202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bg1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79" name="Text Placeholder 135">
            <a:extLst>
              <a:ext uri="{FF2B5EF4-FFF2-40B4-BE49-F238E27FC236}">
                <a16:creationId xmlns:a16="http://schemas.microsoft.com/office/drawing/2014/main" id="{CA8F343C-4D99-4A43-995F-05ACA5C64E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3782467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Commun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A3F1C04-3200-4425-86D0-2F9E2EAC9EF4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4772203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1200"/>
              </a:spcAft>
              <a:buNone/>
              <a:defRPr sz="3800" b="1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67" name="Group 4">
            <a:extLst>
              <a:ext uri="{FF2B5EF4-FFF2-40B4-BE49-F238E27FC236}">
                <a16:creationId xmlns:a16="http://schemas.microsoft.com/office/drawing/2014/main" id="{17413FA8-B926-4F79-BE67-4D826E05949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21066" y="453777"/>
            <a:ext cx="1662286" cy="1666547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68" name="AutoShape 3">
              <a:extLst>
                <a:ext uri="{FF2B5EF4-FFF2-40B4-BE49-F238E27FC236}">
                  <a16:creationId xmlns:a16="http://schemas.microsoft.com/office/drawing/2014/main" id="{67A0898D-5E9C-4ECA-8716-B27BD4E303A7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69" name="Rectangle 5">
              <a:extLst>
                <a:ext uri="{FF2B5EF4-FFF2-40B4-BE49-F238E27FC236}">
                  <a16:creationId xmlns:a16="http://schemas.microsoft.com/office/drawing/2014/main" id="{239A1E07-3A1C-41F5-92ED-8B3567E0FF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0" name="Freeform 6">
              <a:extLst>
                <a:ext uri="{FF2B5EF4-FFF2-40B4-BE49-F238E27FC236}">
                  <a16:creationId xmlns:a16="http://schemas.microsoft.com/office/drawing/2014/main" id="{E9D6C4A4-2B67-4288-817E-9A4BFFCA30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1" name="Freeform 7">
              <a:extLst>
                <a:ext uri="{FF2B5EF4-FFF2-40B4-BE49-F238E27FC236}">
                  <a16:creationId xmlns:a16="http://schemas.microsoft.com/office/drawing/2014/main" id="{6B8D6F90-2C6B-4628-AE61-C65FEE4878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C0E4DAA6-41BC-4FB2-8CF3-65E9131F42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3" name="Freeform 9">
              <a:extLst>
                <a:ext uri="{FF2B5EF4-FFF2-40B4-BE49-F238E27FC236}">
                  <a16:creationId xmlns:a16="http://schemas.microsoft.com/office/drawing/2014/main" id="{2474DAF8-D7A5-411C-A001-70D5A07D88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4" name="Freeform 10">
              <a:extLst>
                <a:ext uri="{FF2B5EF4-FFF2-40B4-BE49-F238E27FC236}">
                  <a16:creationId xmlns:a16="http://schemas.microsoft.com/office/drawing/2014/main" id="{06B8E519-0572-4B3F-9254-9C405ADACC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5" name="Freeform 11">
              <a:extLst>
                <a:ext uri="{FF2B5EF4-FFF2-40B4-BE49-F238E27FC236}">
                  <a16:creationId xmlns:a16="http://schemas.microsoft.com/office/drawing/2014/main" id="{4DA47499-7EFA-44C7-93C9-40237E640F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6" name="Freeform 12">
              <a:extLst>
                <a:ext uri="{FF2B5EF4-FFF2-40B4-BE49-F238E27FC236}">
                  <a16:creationId xmlns:a16="http://schemas.microsoft.com/office/drawing/2014/main" id="{C8EA471D-6FAF-4C4F-B21D-814C5991B9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7" name="Freeform 13">
              <a:extLst>
                <a:ext uri="{FF2B5EF4-FFF2-40B4-BE49-F238E27FC236}">
                  <a16:creationId xmlns:a16="http://schemas.microsoft.com/office/drawing/2014/main" id="{BEC055FD-07C4-4F86-A926-EFFCD0E704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8" name="Freeform 14">
              <a:extLst>
                <a:ext uri="{FF2B5EF4-FFF2-40B4-BE49-F238E27FC236}">
                  <a16:creationId xmlns:a16="http://schemas.microsoft.com/office/drawing/2014/main" id="{DBC8C3F1-E782-4E33-8648-C0D9005D2F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37" name="Freeform 15">
              <a:extLst>
                <a:ext uri="{FF2B5EF4-FFF2-40B4-BE49-F238E27FC236}">
                  <a16:creationId xmlns:a16="http://schemas.microsoft.com/office/drawing/2014/main" id="{511543D3-2D83-4FA7-A510-0D59ED4DFD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1" name="Freeform 16">
              <a:extLst>
                <a:ext uri="{FF2B5EF4-FFF2-40B4-BE49-F238E27FC236}">
                  <a16:creationId xmlns:a16="http://schemas.microsoft.com/office/drawing/2014/main" id="{5C99A006-6A36-4318-A0F6-FC763AF1FD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2" name="Freeform 17">
              <a:extLst>
                <a:ext uri="{FF2B5EF4-FFF2-40B4-BE49-F238E27FC236}">
                  <a16:creationId xmlns:a16="http://schemas.microsoft.com/office/drawing/2014/main" id="{D65C69B5-F055-4C41-976C-E6733BC98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3" name="Freeform 18">
              <a:extLst>
                <a:ext uri="{FF2B5EF4-FFF2-40B4-BE49-F238E27FC236}">
                  <a16:creationId xmlns:a16="http://schemas.microsoft.com/office/drawing/2014/main" id="{1A3177FB-A0BD-4B08-B181-14A829DF1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4" name="Freeform 19">
              <a:extLst>
                <a:ext uri="{FF2B5EF4-FFF2-40B4-BE49-F238E27FC236}">
                  <a16:creationId xmlns:a16="http://schemas.microsoft.com/office/drawing/2014/main" id="{3528B336-8FBC-4C1E-B4B2-C99449F8E8B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5" name="Freeform 20">
              <a:extLst>
                <a:ext uri="{FF2B5EF4-FFF2-40B4-BE49-F238E27FC236}">
                  <a16:creationId xmlns:a16="http://schemas.microsoft.com/office/drawing/2014/main" id="{BD4F46C1-2FE6-44C8-A55E-45E98246F6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8" name="Rectangle 21">
              <a:extLst>
                <a:ext uri="{FF2B5EF4-FFF2-40B4-BE49-F238E27FC236}">
                  <a16:creationId xmlns:a16="http://schemas.microsoft.com/office/drawing/2014/main" id="{09DD4248-B5EF-40DF-AEE7-8BD9A8A741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9" name="Freeform 22">
              <a:extLst>
                <a:ext uri="{FF2B5EF4-FFF2-40B4-BE49-F238E27FC236}">
                  <a16:creationId xmlns:a16="http://schemas.microsoft.com/office/drawing/2014/main" id="{0EF4CE3A-3112-407D-B00C-337ACD7FDA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0" name="Freeform 23">
              <a:extLst>
                <a:ext uri="{FF2B5EF4-FFF2-40B4-BE49-F238E27FC236}">
                  <a16:creationId xmlns:a16="http://schemas.microsoft.com/office/drawing/2014/main" id="{EEE8532D-E6E7-4BD0-9A45-58E8A1A93D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1" name="Freeform 24">
              <a:extLst>
                <a:ext uri="{FF2B5EF4-FFF2-40B4-BE49-F238E27FC236}">
                  <a16:creationId xmlns:a16="http://schemas.microsoft.com/office/drawing/2014/main" id="{2B2B85B8-C753-425A-ACC5-3B2B2268FE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2" name="Freeform 25">
              <a:extLst>
                <a:ext uri="{FF2B5EF4-FFF2-40B4-BE49-F238E27FC236}">
                  <a16:creationId xmlns:a16="http://schemas.microsoft.com/office/drawing/2014/main" id="{023916B4-1AD7-4055-9353-DB438003EF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3" name="Freeform 26">
              <a:extLst>
                <a:ext uri="{FF2B5EF4-FFF2-40B4-BE49-F238E27FC236}">
                  <a16:creationId xmlns:a16="http://schemas.microsoft.com/office/drawing/2014/main" id="{6D2086AF-BC95-4BE8-AB84-A66F4C80A6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4" name="Freeform 27">
              <a:extLst>
                <a:ext uri="{FF2B5EF4-FFF2-40B4-BE49-F238E27FC236}">
                  <a16:creationId xmlns:a16="http://schemas.microsoft.com/office/drawing/2014/main" id="{E7A147C6-9FDA-4D95-A42A-92861D17D6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5" name="Freeform 28">
              <a:extLst>
                <a:ext uri="{FF2B5EF4-FFF2-40B4-BE49-F238E27FC236}">
                  <a16:creationId xmlns:a16="http://schemas.microsoft.com/office/drawing/2014/main" id="{45D5BF2A-EF85-417C-B03F-30CEAE118D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6" name="Freeform 29">
              <a:extLst>
                <a:ext uri="{FF2B5EF4-FFF2-40B4-BE49-F238E27FC236}">
                  <a16:creationId xmlns:a16="http://schemas.microsoft.com/office/drawing/2014/main" id="{795098EC-2ACB-4C39-AA2D-A12FF06BA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7" name="Freeform 30">
              <a:extLst>
                <a:ext uri="{FF2B5EF4-FFF2-40B4-BE49-F238E27FC236}">
                  <a16:creationId xmlns:a16="http://schemas.microsoft.com/office/drawing/2014/main" id="{447048D5-71A3-4A33-9E51-0388E2EC90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8" name="Freeform 31">
              <a:extLst>
                <a:ext uri="{FF2B5EF4-FFF2-40B4-BE49-F238E27FC236}">
                  <a16:creationId xmlns:a16="http://schemas.microsoft.com/office/drawing/2014/main" id="{5866A8C0-C096-47DA-9C8E-D82E74E47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9" name="Freeform 32">
              <a:extLst>
                <a:ext uri="{FF2B5EF4-FFF2-40B4-BE49-F238E27FC236}">
                  <a16:creationId xmlns:a16="http://schemas.microsoft.com/office/drawing/2014/main" id="{4B91E936-1F6C-4BAE-9F8C-2A198926D7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0" name="Freeform 34">
              <a:extLst>
                <a:ext uri="{FF2B5EF4-FFF2-40B4-BE49-F238E27FC236}">
                  <a16:creationId xmlns:a16="http://schemas.microsoft.com/office/drawing/2014/main" id="{88823701-A9F3-4323-AD0C-A2AD4BE0B9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1" name="Freeform 35">
              <a:extLst>
                <a:ext uri="{FF2B5EF4-FFF2-40B4-BE49-F238E27FC236}">
                  <a16:creationId xmlns:a16="http://schemas.microsoft.com/office/drawing/2014/main" id="{C495104A-F915-4B0C-961E-EF42EEA3C8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2" name="Freeform 36">
              <a:extLst>
                <a:ext uri="{FF2B5EF4-FFF2-40B4-BE49-F238E27FC236}">
                  <a16:creationId xmlns:a16="http://schemas.microsoft.com/office/drawing/2014/main" id="{6A51DB3B-303A-4D1F-A5E4-A76D700245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3" name="Freeform 37">
              <a:extLst>
                <a:ext uri="{FF2B5EF4-FFF2-40B4-BE49-F238E27FC236}">
                  <a16:creationId xmlns:a16="http://schemas.microsoft.com/office/drawing/2014/main" id="{E2E2D34A-EEA4-4A9C-81F3-B794F5CEFE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4" name="Freeform 38">
              <a:extLst>
                <a:ext uri="{FF2B5EF4-FFF2-40B4-BE49-F238E27FC236}">
                  <a16:creationId xmlns:a16="http://schemas.microsoft.com/office/drawing/2014/main" id="{8B3BECFC-710D-46F1-96FF-B5371F927C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5" name="Freeform 39">
              <a:extLst>
                <a:ext uri="{FF2B5EF4-FFF2-40B4-BE49-F238E27FC236}">
                  <a16:creationId xmlns:a16="http://schemas.microsoft.com/office/drawing/2014/main" id="{90665531-8DF2-4759-B8DB-FEF6D91D48E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6" name="Freeform 40">
              <a:extLst>
                <a:ext uri="{FF2B5EF4-FFF2-40B4-BE49-F238E27FC236}">
                  <a16:creationId xmlns:a16="http://schemas.microsoft.com/office/drawing/2014/main" id="{26F566F5-E589-4F94-81DD-DD2CA39F85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7" name="Freeform 41">
              <a:extLst>
                <a:ext uri="{FF2B5EF4-FFF2-40B4-BE49-F238E27FC236}">
                  <a16:creationId xmlns:a16="http://schemas.microsoft.com/office/drawing/2014/main" id="{AD2F1B90-FBA5-468A-ADE5-6AF4A84870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8" name="Freeform 42">
              <a:extLst>
                <a:ext uri="{FF2B5EF4-FFF2-40B4-BE49-F238E27FC236}">
                  <a16:creationId xmlns:a16="http://schemas.microsoft.com/office/drawing/2014/main" id="{2FD588FF-B434-4865-9645-F295045E86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9" name="Freeform 43">
              <a:extLst>
                <a:ext uri="{FF2B5EF4-FFF2-40B4-BE49-F238E27FC236}">
                  <a16:creationId xmlns:a16="http://schemas.microsoft.com/office/drawing/2014/main" id="{19302DA6-B22F-4EF5-A69A-ABD9063A8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0" name="Freeform 44">
              <a:extLst>
                <a:ext uri="{FF2B5EF4-FFF2-40B4-BE49-F238E27FC236}">
                  <a16:creationId xmlns:a16="http://schemas.microsoft.com/office/drawing/2014/main" id="{FE7EC85F-4555-4FCA-8CCD-19C42F488E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1" name="Freeform 45">
              <a:extLst>
                <a:ext uri="{FF2B5EF4-FFF2-40B4-BE49-F238E27FC236}">
                  <a16:creationId xmlns:a16="http://schemas.microsoft.com/office/drawing/2014/main" id="{1962168F-4DE0-46A6-8EFD-C4A1BA3751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2" name="Freeform 46">
              <a:extLst>
                <a:ext uri="{FF2B5EF4-FFF2-40B4-BE49-F238E27FC236}">
                  <a16:creationId xmlns:a16="http://schemas.microsoft.com/office/drawing/2014/main" id="{7B9E10B1-1CAA-4E4C-B256-1BA034A292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3" name="Freeform 47">
              <a:extLst>
                <a:ext uri="{FF2B5EF4-FFF2-40B4-BE49-F238E27FC236}">
                  <a16:creationId xmlns:a16="http://schemas.microsoft.com/office/drawing/2014/main" id="{A8D8148A-C053-4A37-844E-75EF041690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4" name="Freeform 48">
              <a:extLst>
                <a:ext uri="{FF2B5EF4-FFF2-40B4-BE49-F238E27FC236}">
                  <a16:creationId xmlns:a16="http://schemas.microsoft.com/office/drawing/2014/main" id="{A20CEF9E-743B-4F98-9FF0-EBBBC4FEB2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5" name="Freeform 49">
              <a:extLst>
                <a:ext uri="{FF2B5EF4-FFF2-40B4-BE49-F238E27FC236}">
                  <a16:creationId xmlns:a16="http://schemas.microsoft.com/office/drawing/2014/main" id="{B790B20E-FD43-462D-8007-EC2B15D8FC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6" name="Freeform 50">
              <a:extLst>
                <a:ext uri="{FF2B5EF4-FFF2-40B4-BE49-F238E27FC236}">
                  <a16:creationId xmlns:a16="http://schemas.microsoft.com/office/drawing/2014/main" id="{3DCCF01C-7444-4B23-BDF1-D8027642EA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7" name="Freeform 51">
              <a:extLst>
                <a:ext uri="{FF2B5EF4-FFF2-40B4-BE49-F238E27FC236}">
                  <a16:creationId xmlns:a16="http://schemas.microsoft.com/office/drawing/2014/main" id="{9C1F7A58-7A43-4EF6-8310-FC2223E349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8" name="Freeform 52">
              <a:extLst>
                <a:ext uri="{FF2B5EF4-FFF2-40B4-BE49-F238E27FC236}">
                  <a16:creationId xmlns:a16="http://schemas.microsoft.com/office/drawing/2014/main" id="{CFADC32E-9FC7-4E6E-842D-E7A407A37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9" name="Freeform 53">
              <a:extLst>
                <a:ext uri="{FF2B5EF4-FFF2-40B4-BE49-F238E27FC236}">
                  <a16:creationId xmlns:a16="http://schemas.microsoft.com/office/drawing/2014/main" id="{D5B27FA2-8D3C-408A-9480-A049E6D384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0" name="Freeform 54">
              <a:extLst>
                <a:ext uri="{FF2B5EF4-FFF2-40B4-BE49-F238E27FC236}">
                  <a16:creationId xmlns:a16="http://schemas.microsoft.com/office/drawing/2014/main" id="{1FE7A3D8-FB06-4617-BFC5-9D2DCCA8AB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1" name="Freeform 55">
              <a:extLst>
                <a:ext uri="{FF2B5EF4-FFF2-40B4-BE49-F238E27FC236}">
                  <a16:creationId xmlns:a16="http://schemas.microsoft.com/office/drawing/2014/main" id="{465E4A38-A19E-4A38-8E8A-A82D12FA5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2" name="Freeform 56">
              <a:extLst>
                <a:ext uri="{FF2B5EF4-FFF2-40B4-BE49-F238E27FC236}">
                  <a16:creationId xmlns:a16="http://schemas.microsoft.com/office/drawing/2014/main" id="{A1F24538-62EE-43F6-AFF0-9E5AC6235F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3" name="Freeform 57">
              <a:extLst>
                <a:ext uri="{FF2B5EF4-FFF2-40B4-BE49-F238E27FC236}">
                  <a16:creationId xmlns:a16="http://schemas.microsoft.com/office/drawing/2014/main" id="{E45D68DF-3FB9-4397-9E42-B8F0FD2CBC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4" name="Freeform 58">
              <a:extLst>
                <a:ext uri="{FF2B5EF4-FFF2-40B4-BE49-F238E27FC236}">
                  <a16:creationId xmlns:a16="http://schemas.microsoft.com/office/drawing/2014/main" id="{A559BEA7-D8F9-48FE-8B9C-D2CC236311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5" name="Freeform 59">
              <a:extLst>
                <a:ext uri="{FF2B5EF4-FFF2-40B4-BE49-F238E27FC236}">
                  <a16:creationId xmlns:a16="http://schemas.microsoft.com/office/drawing/2014/main" id="{00C3857F-D388-4662-B791-624CEA2D4E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6" name="Freeform 60">
              <a:extLst>
                <a:ext uri="{FF2B5EF4-FFF2-40B4-BE49-F238E27FC236}">
                  <a16:creationId xmlns:a16="http://schemas.microsoft.com/office/drawing/2014/main" id="{509EDC47-72F4-4A73-A0DC-EFEEA7F78B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7" name="Freeform 61">
              <a:extLst>
                <a:ext uri="{FF2B5EF4-FFF2-40B4-BE49-F238E27FC236}">
                  <a16:creationId xmlns:a16="http://schemas.microsoft.com/office/drawing/2014/main" id="{82FD3E03-FA3C-47B4-A46E-1FDBD51C45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8" name="Freeform 62">
              <a:extLst>
                <a:ext uri="{FF2B5EF4-FFF2-40B4-BE49-F238E27FC236}">
                  <a16:creationId xmlns:a16="http://schemas.microsoft.com/office/drawing/2014/main" id="{B71695B0-B6B0-40D5-8FAF-58EC726C64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</p:grp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0624966D-E4EA-4F50-9BB6-48291DC82572}"/>
              </a:ext>
            </a:extLst>
          </p:cNvPr>
          <p:cNvSpPr/>
          <p:nvPr userDrawn="1"/>
        </p:nvSpPr>
        <p:spPr>
          <a:xfrm>
            <a:off x="6272240" y="1030147"/>
            <a:ext cx="5919758" cy="5825419"/>
          </a:xfrm>
          <a:custGeom>
            <a:avLst/>
            <a:gdLst>
              <a:gd name="connsiteX0" fmla="*/ 5919758 w 5919758"/>
              <a:gd name="connsiteY0" fmla="*/ 0 h 5825419"/>
              <a:gd name="connsiteX1" fmla="*/ 5919758 w 5919758"/>
              <a:gd name="connsiteY1" fmla="*/ 5825419 h 5825419"/>
              <a:gd name="connsiteX2" fmla="*/ 1120273 w 5919758"/>
              <a:gd name="connsiteY2" fmla="*/ 5825419 h 5825419"/>
              <a:gd name="connsiteX3" fmla="*/ 0 w 5919758"/>
              <a:gd name="connsiteY3" fmla="*/ 1588036 h 582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9758" h="5825419">
                <a:moveTo>
                  <a:pt x="5919758" y="0"/>
                </a:moveTo>
                <a:lnTo>
                  <a:pt x="5919758" y="5825419"/>
                </a:lnTo>
                <a:lnTo>
                  <a:pt x="1120273" y="5825419"/>
                </a:lnTo>
                <a:lnTo>
                  <a:pt x="0" y="1588036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28854" t="-32933" r="-6493" b="-241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3" name="Text Placeholder 140">
            <a:extLst>
              <a:ext uri="{FF2B5EF4-FFF2-40B4-BE49-F238E27FC236}">
                <a16:creationId xmlns:a16="http://schemas.microsoft.com/office/drawing/2014/main" id="{7C435E10-BA07-43CA-946E-F929538E56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3" y="5394937"/>
            <a:ext cx="4772202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bg1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79" name="Text Placeholder 135">
            <a:extLst>
              <a:ext uri="{FF2B5EF4-FFF2-40B4-BE49-F238E27FC236}">
                <a16:creationId xmlns:a16="http://schemas.microsoft.com/office/drawing/2014/main" id="{8818C800-1FD7-46E3-9513-EDED28C7D4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3131766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Knowled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A3F1C04-3200-4425-86D0-2F9E2EAC9EF4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4772203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1200"/>
              </a:spcAft>
              <a:buNone/>
              <a:defRPr sz="3800" b="1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67" name="Group 4">
            <a:extLst>
              <a:ext uri="{FF2B5EF4-FFF2-40B4-BE49-F238E27FC236}">
                <a16:creationId xmlns:a16="http://schemas.microsoft.com/office/drawing/2014/main" id="{17413FA8-B926-4F79-BE67-4D826E05949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21066" y="453777"/>
            <a:ext cx="1662286" cy="1666547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68" name="AutoShape 3">
              <a:extLst>
                <a:ext uri="{FF2B5EF4-FFF2-40B4-BE49-F238E27FC236}">
                  <a16:creationId xmlns:a16="http://schemas.microsoft.com/office/drawing/2014/main" id="{67A0898D-5E9C-4ECA-8716-B27BD4E303A7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69" name="Rectangle 5">
              <a:extLst>
                <a:ext uri="{FF2B5EF4-FFF2-40B4-BE49-F238E27FC236}">
                  <a16:creationId xmlns:a16="http://schemas.microsoft.com/office/drawing/2014/main" id="{239A1E07-3A1C-41F5-92ED-8B3567E0FF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0" name="Freeform 6">
              <a:extLst>
                <a:ext uri="{FF2B5EF4-FFF2-40B4-BE49-F238E27FC236}">
                  <a16:creationId xmlns:a16="http://schemas.microsoft.com/office/drawing/2014/main" id="{E9D6C4A4-2B67-4288-817E-9A4BFFCA30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1" name="Freeform 7">
              <a:extLst>
                <a:ext uri="{FF2B5EF4-FFF2-40B4-BE49-F238E27FC236}">
                  <a16:creationId xmlns:a16="http://schemas.microsoft.com/office/drawing/2014/main" id="{6B8D6F90-2C6B-4628-AE61-C65FEE4878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C0E4DAA6-41BC-4FB2-8CF3-65E9131F42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3" name="Freeform 9">
              <a:extLst>
                <a:ext uri="{FF2B5EF4-FFF2-40B4-BE49-F238E27FC236}">
                  <a16:creationId xmlns:a16="http://schemas.microsoft.com/office/drawing/2014/main" id="{2474DAF8-D7A5-411C-A001-70D5A07D88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4" name="Freeform 10">
              <a:extLst>
                <a:ext uri="{FF2B5EF4-FFF2-40B4-BE49-F238E27FC236}">
                  <a16:creationId xmlns:a16="http://schemas.microsoft.com/office/drawing/2014/main" id="{06B8E519-0572-4B3F-9254-9C405ADACC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5" name="Freeform 11">
              <a:extLst>
                <a:ext uri="{FF2B5EF4-FFF2-40B4-BE49-F238E27FC236}">
                  <a16:creationId xmlns:a16="http://schemas.microsoft.com/office/drawing/2014/main" id="{4DA47499-7EFA-44C7-93C9-40237E640F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6" name="Freeform 12">
              <a:extLst>
                <a:ext uri="{FF2B5EF4-FFF2-40B4-BE49-F238E27FC236}">
                  <a16:creationId xmlns:a16="http://schemas.microsoft.com/office/drawing/2014/main" id="{C8EA471D-6FAF-4C4F-B21D-814C5991B9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7" name="Freeform 13">
              <a:extLst>
                <a:ext uri="{FF2B5EF4-FFF2-40B4-BE49-F238E27FC236}">
                  <a16:creationId xmlns:a16="http://schemas.microsoft.com/office/drawing/2014/main" id="{BEC055FD-07C4-4F86-A926-EFFCD0E704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8" name="Freeform 14">
              <a:extLst>
                <a:ext uri="{FF2B5EF4-FFF2-40B4-BE49-F238E27FC236}">
                  <a16:creationId xmlns:a16="http://schemas.microsoft.com/office/drawing/2014/main" id="{DBC8C3F1-E782-4E33-8648-C0D9005D2F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37" name="Freeform 15">
              <a:extLst>
                <a:ext uri="{FF2B5EF4-FFF2-40B4-BE49-F238E27FC236}">
                  <a16:creationId xmlns:a16="http://schemas.microsoft.com/office/drawing/2014/main" id="{511543D3-2D83-4FA7-A510-0D59ED4DFD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1" name="Freeform 16">
              <a:extLst>
                <a:ext uri="{FF2B5EF4-FFF2-40B4-BE49-F238E27FC236}">
                  <a16:creationId xmlns:a16="http://schemas.microsoft.com/office/drawing/2014/main" id="{5C99A006-6A36-4318-A0F6-FC763AF1FD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2" name="Freeform 17">
              <a:extLst>
                <a:ext uri="{FF2B5EF4-FFF2-40B4-BE49-F238E27FC236}">
                  <a16:creationId xmlns:a16="http://schemas.microsoft.com/office/drawing/2014/main" id="{D65C69B5-F055-4C41-976C-E6733BC98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3" name="Freeform 18">
              <a:extLst>
                <a:ext uri="{FF2B5EF4-FFF2-40B4-BE49-F238E27FC236}">
                  <a16:creationId xmlns:a16="http://schemas.microsoft.com/office/drawing/2014/main" id="{1A3177FB-A0BD-4B08-B181-14A829DF1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4" name="Freeform 19">
              <a:extLst>
                <a:ext uri="{FF2B5EF4-FFF2-40B4-BE49-F238E27FC236}">
                  <a16:creationId xmlns:a16="http://schemas.microsoft.com/office/drawing/2014/main" id="{3528B336-8FBC-4C1E-B4B2-C99449F8E8B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5" name="Freeform 20">
              <a:extLst>
                <a:ext uri="{FF2B5EF4-FFF2-40B4-BE49-F238E27FC236}">
                  <a16:creationId xmlns:a16="http://schemas.microsoft.com/office/drawing/2014/main" id="{BD4F46C1-2FE6-44C8-A55E-45E98246F6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8" name="Rectangle 21">
              <a:extLst>
                <a:ext uri="{FF2B5EF4-FFF2-40B4-BE49-F238E27FC236}">
                  <a16:creationId xmlns:a16="http://schemas.microsoft.com/office/drawing/2014/main" id="{09DD4248-B5EF-40DF-AEE7-8BD9A8A741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9" name="Freeform 22">
              <a:extLst>
                <a:ext uri="{FF2B5EF4-FFF2-40B4-BE49-F238E27FC236}">
                  <a16:creationId xmlns:a16="http://schemas.microsoft.com/office/drawing/2014/main" id="{0EF4CE3A-3112-407D-B00C-337ACD7FDA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0" name="Freeform 23">
              <a:extLst>
                <a:ext uri="{FF2B5EF4-FFF2-40B4-BE49-F238E27FC236}">
                  <a16:creationId xmlns:a16="http://schemas.microsoft.com/office/drawing/2014/main" id="{EEE8532D-E6E7-4BD0-9A45-58E8A1A93D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1" name="Freeform 24">
              <a:extLst>
                <a:ext uri="{FF2B5EF4-FFF2-40B4-BE49-F238E27FC236}">
                  <a16:creationId xmlns:a16="http://schemas.microsoft.com/office/drawing/2014/main" id="{2B2B85B8-C753-425A-ACC5-3B2B2268FE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2" name="Freeform 25">
              <a:extLst>
                <a:ext uri="{FF2B5EF4-FFF2-40B4-BE49-F238E27FC236}">
                  <a16:creationId xmlns:a16="http://schemas.microsoft.com/office/drawing/2014/main" id="{023916B4-1AD7-4055-9353-DB438003EF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3" name="Freeform 26">
              <a:extLst>
                <a:ext uri="{FF2B5EF4-FFF2-40B4-BE49-F238E27FC236}">
                  <a16:creationId xmlns:a16="http://schemas.microsoft.com/office/drawing/2014/main" id="{6D2086AF-BC95-4BE8-AB84-A66F4C80A6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4" name="Freeform 27">
              <a:extLst>
                <a:ext uri="{FF2B5EF4-FFF2-40B4-BE49-F238E27FC236}">
                  <a16:creationId xmlns:a16="http://schemas.microsoft.com/office/drawing/2014/main" id="{E7A147C6-9FDA-4D95-A42A-92861D17D6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5" name="Freeform 28">
              <a:extLst>
                <a:ext uri="{FF2B5EF4-FFF2-40B4-BE49-F238E27FC236}">
                  <a16:creationId xmlns:a16="http://schemas.microsoft.com/office/drawing/2014/main" id="{45D5BF2A-EF85-417C-B03F-30CEAE118D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6" name="Freeform 29">
              <a:extLst>
                <a:ext uri="{FF2B5EF4-FFF2-40B4-BE49-F238E27FC236}">
                  <a16:creationId xmlns:a16="http://schemas.microsoft.com/office/drawing/2014/main" id="{795098EC-2ACB-4C39-AA2D-A12FF06BA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7" name="Freeform 30">
              <a:extLst>
                <a:ext uri="{FF2B5EF4-FFF2-40B4-BE49-F238E27FC236}">
                  <a16:creationId xmlns:a16="http://schemas.microsoft.com/office/drawing/2014/main" id="{447048D5-71A3-4A33-9E51-0388E2EC90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8" name="Freeform 31">
              <a:extLst>
                <a:ext uri="{FF2B5EF4-FFF2-40B4-BE49-F238E27FC236}">
                  <a16:creationId xmlns:a16="http://schemas.microsoft.com/office/drawing/2014/main" id="{5866A8C0-C096-47DA-9C8E-D82E74E47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9" name="Freeform 32">
              <a:extLst>
                <a:ext uri="{FF2B5EF4-FFF2-40B4-BE49-F238E27FC236}">
                  <a16:creationId xmlns:a16="http://schemas.microsoft.com/office/drawing/2014/main" id="{4B91E936-1F6C-4BAE-9F8C-2A198926D7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0" name="Freeform 34">
              <a:extLst>
                <a:ext uri="{FF2B5EF4-FFF2-40B4-BE49-F238E27FC236}">
                  <a16:creationId xmlns:a16="http://schemas.microsoft.com/office/drawing/2014/main" id="{88823701-A9F3-4323-AD0C-A2AD4BE0B9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1" name="Freeform 35">
              <a:extLst>
                <a:ext uri="{FF2B5EF4-FFF2-40B4-BE49-F238E27FC236}">
                  <a16:creationId xmlns:a16="http://schemas.microsoft.com/office/drawing/2014/main" id="{C495104A-F915-4B0C-961E-EF42EEA3C8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2" name="Freeform 36">
              <a:extLst>
                <a:ext uri="{FF2B5EF4-FFF2-40B4-BE49-F238E27FC236}">
                  <a16:creationId xmlns:a16="http://schemas.microsoft.com/office/drawing/2014/main" id="{6A51DB3B-303A-4D1F-A5E4-A76D700245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3" name="Freeform 37">
              <a:extLst>
                <a:ext uri="{FF2B5EF4-FFF2-40B4-BE49-F238E27FC236}">
                  <a16:creationId xmlns:a16="http://schemas.microsoft.com/office/drawing/2014/main" id="{E2E2D34A-EEA4-4A9C-81F3-B794F5CEFE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4" name="Freeform 38">
              <a:extLst>
                <a:ext uri="{FF2B5EF4-FFF2-40B4-BE49-F238E27FC236}">
                  <a16:creationId xmlns:a16="http://schemas.microsoft.com/office/drawing/2014/main" id="{8B3BECFC-710D-46F1-96FF-B5371F927C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5" name="Freeform 39">
              <a:extLst>
                <a:ext uri="{FF2B5EF4-FFF2-40B4-BE49-F238E27FC236}">
                  <a16:creationId xmlns:a16="http://schemas.microsoft.com/office/drawing/2014/main" id="{90665531-8DF2-4759-B8DB-FEF6D91D48E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6" name="Freeform 40">
              <a:extLst>
                <a:ext uri="{FF2B5EF4-FFF2-40B4-BE49-F238E27FC236}">
                  <a16:creationId xmlns:a16="http://schemas.microsoft.com/office/drawing/2014/main" id="{26F566F5-E589-4F94-81DD-DD2CA39F85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7" name="Freeform 41">
              <a:extLst>
                <a:ext uri="{FF2B5EF4-FFF2-40B4-BE49-F238E27FC236}">
                  <a16:creationId xmlns:a16="http://schemas.microsoft.com/office/drawing/2014/main" id="{AD2F1B90-FBA5-468A-ADE5-6AF4A84870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8" name="Freeform 42">
              <a:extLst>
                <a:ext uri="{FF2B5EF4-FFF2-40B4-BE49-F238E27FC236}">
                  <a16:creationId xmlns:a16="http://schemas.microsoft.com/office/drawing/2014/main" id="{2FD588FF-B434-4865-9645-F295045E86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9" name="Freeform 43">
              <a:extLst>
                <a:ext uri="{FF2B5EF4-FFF2-40B4-BE49-F238E27FC236}">
                  <a16:creationId xmlns:a16="http://schemas.microsoft.com/office/drawing/2014/main" id="{19302DA6-B22F-4EF5-A69A-ABD9063A8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0" name="Freeform 44">
              <a:extLst>
                <a:ext uri="{FF2B5EF4-FFF2-40B4-BE49-F238E27FC236}">
                  <a16:creationId xmlns:a16="http://schemas.microsoft.com/office/drawing/2014/main" id="{FE7EC85F-4555-4FCA-8CCD-19C42F488E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1" name="Freeform 45">
              <a:extLst>
                <a:ext uri="{FF2B5EF4-FFF2-40B4-BE49-F238E27FC236}">
                  <a16:creationId xmlns:a16="http://schemas.microsoft.com/office/drawing/2014/main" id="{1962168F-4DE0-46A6-8EFD-C4A1BA3751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2" name="Freeform 46">
              <a:extLst>
                <a:ext uri="{FF2B5EF4-FFF2-40B4-BE49-F238E27FC236}">
                  <a16:creationId xmlns:a16="http://schemas.microsoft.com/office/drawing/2014/main" id="{7B9E10B1-1CAA-4E4C-B256-1BA034A292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3" name="Freeform 47">
              <a:extLst>
                <a:ext uri="{FF2B5EF4-FFF2-40B4-BE49-F238E27FC236}">
                  <a16:creationId xmlns:a16="http://schemas.microsoft.com/office/drawing/2014/main" id="{A8D8148A-C053-4A37-844E-75EF041690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4" name="Freeform 48">
              <a:extLst>
                <a:ext uri="{FF2B5EF4-FFF2-40B4-BE49-F238E27FC236}">
                  <a16:creationId xmlns:a16="http://schemas.microsoft.com/office/drawing/2014/main" id="{A20CEF9E-743B-4F98-9FF0-EBBBC4FEB2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5" name="Freeform 49">
              <a:extLst>
                <a:ext uri="{FF2B5EF4-FFF2-40B4-BE49-F238E27FC236}">
                  <a16:creationId xmlns:a16="http://schemas.microsoft.com/office/drawing/2014/main" id="{B790B20E-FD43-462D-8007-EC2B15D8FC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6" name="Freeform 50">
              <a:extLst>
                <a:ext uri="{FF2B5EF4-FFF2-40B4-BE49-F238E27FC236}">
                  <a16:creationId xmlns:a16="http://schemas.microsoft.com/office/drawing/2014/main" id="{3DCCF01C-7444-4B23-BDF1-D8027642EA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7" name="Freeform 51">
              <a:extLst>
                <a:ext uri="{FF2B5EF4-FFF2-40B4-BE49-F238E27FC236}">
                  <a16:creationId xmlns:a16="http://schemas.microsoft.com/office/drawing/2014/main" id="{9C1F7A58-7A43-4EF6-8310-FC2223E349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8" name="Freeform 52">
              <a:extLst>
                <a:ext uri="{FF2B5EF4-FFF2-40B4-BE49-F238E27FC236}">
                  <a16:creationId xmlns:a16="http://schemas.microsoft.com/office/drawing/2014/main" id="{CFADC32E-9FC7-4E6E-842D-E7A407A37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9" name="Freeform 53">
              <a:extLst>
                <a:ext uri="{FF2B5EF4-FFF2-40B4-BE49-F238E27FC236}">
                  <a16:creationId xmlns:a16="http://schemas.microsoft.com/office/drawing/2014/main" id="{D5B27FA2-8D3C-408A-9480-A049E6D384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0" name="Freeform 54">
              <a:extLst>
                <a:ext uri="{FF2B5EF4-FFF2-40B4-BE49-F238E27FC236}">
                  <a16:creationId xmlns:a16="http://schemas.microsoft.com/office/drawing/2014/main" id="{1FE7A3D8-FB06-4617-BFC5-9D2DCCA8AB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1" name="Freeform 55">
              <a:extLst>
                <a:ext uri="{FF2B5EF4-FFF2-40B4-BE49-F238E27FC236}">
                  <a16:creationId xmlns:a16="http://schemas.microsoft.com/office/drawing/2014/main" id="{465E4A38-A19E-4A38-8E8A-A82D12FA5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2" name="Freeform 56">
              <a:extLst>
                <a:ext uri="{FF2B5EF4-FFF2-40B4-BE49-F238E27FC236}">
                  <a16:creationId xmlns:a16="http://schemas.microsoft.com/office/drawing/2014/main" id="{A1F24538-62EE-43F6-AFF0-9E5AC6235F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3" name="Freeform 57">
              <a:extLst>
                <a:ext uri="{FF2B5EF4-FFF2-40B4-BE49-F238E27FC236}">
                  <a16:creationId xmlns:a16="http://schemas.microsoft.com/office/drawing/2014/main" id="{E45D68DF-3FB9-4397-9E42-B8F0FD2CBC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4" name="Freeform 58">
              <a:extLst>
                <a:ext uri="{FF2B5EF4-FFF2-40B4-BE49-F238E27FC236}">
                  <a16:creationId xmlns:a16="http://schemas.microsoft.com/office/drawing/2014/main" id="{A559BEA7-D8F9-48FE-8B9C-D2CC236311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5" name="Freeform 59">
              <a:extLst>
                <a:ext uri="{FF2B5EF4-FFF2-40B4-BE49-F238E27FC236}">
                  <a16:creationId xmlns:a16="http://schemas.microsoft.com/office/drawing/2014/main" id="{00C3857F-D388-4662-B791-624CEA2D4E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6" name="Freeform 60">
              <a:extLst>
                <a:ext uri="{FF2B5EF4-FFF2-40B4-BE49-F238E27FC236}">
                  <a16:creationId xmlns:a16="http://schemas.microsoft.com/office/drawing/2014/main" id="{509EDC47-72F4-4A73-A0DC-EFEEA7F78B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7" name="Freeform 61">
              <a:extLst>
                <a:ext uri="{FF2B5EF4-FFF2-40B4-BE49-F238E27FC236}">
                  <a16:creationId xmlns:a16="http://schemas.microsoft.com/office/drawing/2014/main" id="{82FD3E03-FA3C-47B4-A46E-1FDBD51C45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8" name="Freeform 62">
              <a:extLst>
                <a:ext uri="{FF2B5EF4-FFF2-40B4-BE49-F238E27FC236}">
                  <a16:creationId xmlns:a16="http://schemas.microsoft.com/office/drawing/2014/main" id="{B71695B0-B6B0-40D5-8FAF-58EC726C64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</p:grp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054BDF27-BFAD-478C-A199-3DB667D3F5E8}"/>
              </a:ext>
            </a:extLst>
          </p:cNvPr>
          <p:cNvSpPr/>
          <p:nvPr userDrawn="1"/>
        </p:nvSpPr>
        <p:spPr>
          <a:xfrm>
            <a:off x="6272240" y="1030147"/>
            <a:ext cx="5919758" cy="5825419"/>
          </a:xfrm>
          <a:custGeom>
            <a:avLst/>
            <a:gdLst>
              <a:gd name="connsiteX0" fmla="*/ 5919758 w 5919758"/>
              <a:gd name="connsiteY0" fmla="*/ 0 h 5825419"/>
              <a:gd name="connsiteX1" fmla="*/ 5919758 w 5919758"/>
              <a:gd name="connsiteY1" fmla="*/ 5825419 h 5825419"/>
              <a:gd name="connsiteX2" fmla="*/ 1120273 w 5919758"/>
              <a:gd name="connsiteY2" fmla="*/ 5825419 h 5825419"/>
              <a:gd name="connsiteX3" fmla="*/ 0 w 5919758"/>
              <a:gd name="connsiteY3" fmla="*/ 1588036 h 582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9758" h="5825419">
                <a:moveTo>
                  <a:pt x="5919758" y="0"/>
                </a:moveTo>
                <a:lnTo>
                  <a:pt x="5919758" y="5825419"/>
                </a:lnTo>
                <a:lnTo>
                  <a:pt x="1120273" y="5825419"/>
                </a:lnTo>
                <a:lnTo>
                  <a:pt x="0" y="1588036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28854" t="-32933" r="-6493" b="-241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3" name="Text Placeholder 140">
            <a:extLst>
              <a:ext uri="{FF2B5EF4-FFF2-40B4-BE49-F238E27FC236}">
                <a16:creationId xmlns:a16="http://schemas.microsoft.com/office/drawing/2014/main" id="{219F3B99-BA96-428A-8B96-08B07C3957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3" y="5394937"/>
            <a:ext cx="4772202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bg1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79" name="Text Placeholder 135">
            <a:extLst>
              <a:ext uri="{FF2B5EF4-FFF2-40B4-BE49-F238E27FC236}">
                <a16:creationId xmlns:a16="http://schemas.microsoft.com/office/drawing/2014/main" id="{3E6A1775-999F-4891-AEA1-BDBEAF077E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2325861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Lear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A3F1C04-3200-4425-86D0-2F9E2EAC9EF4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4772203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1200"/>
              </a:spcAft>
              <a:buNone/>
              <a:defRPr sz="3800" b="1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67" name="Group 4">
            <a:extLst>
              <a:ext uri="{FF2B5EF4-FFF2-40B4-BE49-F238E27FC236}">
                <a16:creationId xmlns:a16="http://schemas.microsoft.com/office/drawing/2014/main" id="{17413FA8-B926-4F79-BE67-4D826E05949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21066" y="453777"/>
            <a:ext cx="1662286" cy="1666547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68" name="AutoShape 3">
              <a:extLst>
                <a:ext uri="{FF2B5EF4-FFF2-40B4-BE49-F238E27FC236}">
                  <a16:creationId xmlns:a16="http://schemas.microsoft.com/office/drawing/2014/main" id="{67A0898D-5E9C-4ECA-8716-B27BD4E303A7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69" name="Rectangle 5">
              <a:extLst>
                <a:ext uri="{FF2B5EF4-FFF2-40B4-BE49-F238E27FC236}">
                  <a16:creationId xmlns:a16="http://schemas.microsoft.com/office/drawing/2014/main" id="{239A1E07-3A1C-41F5-92ED-8B3567E0FF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0" name="Freeform 6">
              <a:extLst>
                <a:ext uri="{FF2B5EF4-FFF2-40B4-BE49-F238E27FC236}">
                  <a16:creationId xmlns:a16="http://schemas.microsoft.com/office/drawing/2014/main" id="{E9D6C4A4-2B67-4288-817E-9A4BFFCA30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1" name="Freeform 7">
              <a:extLst>
                <a:ext uri="{FF2B5EF4-FFF2-40B4-BE49-F238E27FC236}">
                  <a16:creationId xmlns:a16="http://schemas.microsoft.com/office/drawing/2014/main" id="{6B8D6F90-2C6B-4628-AE61-C65FEE4878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C0E4DAA6-41BC-4FB2-8CF3-65E9131F42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3" name="Freeform 9">
              <a:extLst>
                <a:ext uri="{FF2B5EF4-FFF2-40B4-BE49-F238E27FC236}">
                  <a16:creationId xmlns:a16="http://schemas.microsoft.com/office/drawing/2014/main" id="{2474DAF8-D7A5-411C-A001-70D5A07D88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4" name="Freeform 10">
              <a:extLst>
                <a:ext uri="{FF2B5EF4-FFF2-40B4-BE49-F238E27FC236}">
                  <a16:creationId xmlns:a16="http://schemas.microsoft.com/office/drawing/2014/main" id="{06B8E519-0572-4B3F-9254-9C405ADACC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5" name="Freeform 11">
              <a:extLst>
                <a:ext uri="{FF2B5EF4-FFF2-40B4-BE49-F238E27FC236}">
                  <a16:creationId xmlns:a16="http://schemas.microsoft.com/office/drawing/2014/main" id="{4DA47499-7EFA-44C7-93C9-40237E640F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6" name="Freeform 12">
              <a:extLst>
                <a:ext uri="{FF2B5EF4-FFF2-40B4-BE49-F238E27FC236}">
                  <a16:creationId xmlns:a16="http://schemas.microsoft.com/office/drawing/2014/main" id="{C8EA471D-6FAF-4C4F-B21D-814C5991B9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7" name="Freeform 13">
              <a:extLst>
                <a:ext uri="{FF2B5EF4-FFF2-40B4-BE49-F238E27FC236}">
                  <a16:creationId xmlns:a16="http://schemas.microsoft.com/office/drawing/2014/main" id="{BEC055FD-07C4-4F86-A926-EFFCD0E704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8" name="Freeform 14">
              <a:extLst>
                <a:ext uri="{FF2B5EF4-FFF2-40B4-BE49-F238E27FC236}">
                  <a16:creationId xmlns:a16="http://schemas.microsoft.com/office/drawing/2014/main" id="{DBC8C3F1-E782-4E33-8648-C0D9005D2F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37" name="Freeform 15">
              <a:extLst>
                <a:ext uri="{FF2B5EF4-FFF2-40B4-BE49-F238E27FC236}">
                  <a16:creationId xmlns:a16="http://schemas.microsoft.com/office/drawing/2014/main" id="{511543D3-2D83-4FA7-A510-0D59ED4DFD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1" name="Freeform 16">
              <a:extLst>
                <a:ext uri="{FF2B5EF4-FFF2-40B4-BE49-F238E27FC236}">
                  <a16:creationId xmlns:a16="http://schemas.microsoft.com/office/drawing/2014/main" id="{5C99A006-6A36-4318-A0F6-FC763AF1FD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2" name="Freeform 17">
              <a:extLst>
                <a:ext uri="{FF2B5EF4-FFF2-40B4-BE49-F238E27FC236}">
                  <a16:creationId xmlns:a16="http://schemas.microsoft.com/office/drawing/2014/main" id="{D65C69B5-F055-4C41-976C-E6733BC98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3" name="Freeform 18">
              <a:extLst>
                <a:ext uri="{FF2B5EF4-FFF2-40B4-BE49-F238E27FC236}">
                  <a16:creationId xmlns:a16="http://schemas.microsoft.com/office/drawing/2014/main" id="{1A3177FB-A0BD-4B08-B181-14A829DF1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4" name="Freeform 19">
              <a:extLst>
                <a:ext uri="{FF2B5EF4-FFF2-40B4-BE49-F238E27FC236}">
                  <a16:creationId xmlns:a16="http://schemas.microsoft.com/office/drawing/2014/main" id="{3528B336-8FBC-4C1E-B4B2-C99449F8E8B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5" name="Freeform 20">
              <a:extLst>
                <a:ext uri="{FF2B5EF4-FFF2-40B4-BE49-F238E27FC236}">
                  <a16:creationId xmlns:a16="http://schemas.microsoft.com/office/drawing/2014/main" id="{BD4F46C1-2FE6-44C8-A55E-45E98246F6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8" name="Rectangle 21">
              <a:extLst>
                <a:ext uri="{FF2B5EF4-FFF2-40B4-BE49-F238E27FC236}">
                  <a16:creationId xmlns:a16="http://schemas.microsoft.com/office/drawing/2014/main" id="{09DD4248-B5EF-40DF-AEE7-8BD9A8A741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9" name="Freeform 22">
              <a:extLst>
                <a:ext uri="{FF2B5EF4-FFF2-40B4-BE49-F238E27FC236}">
                  <a16:creationId xmlns:a16="http://schemas.microsoft.com/office/drawing/2014/main" id="{0EF4CE3A-3112-407D-B00C-337ACD7FDA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0" name="Freeform 23">
              <a:extLst>
                <a:ext uri="{FF2B5EF4-FFF2-40B4-BE49-F238E27FC236}">
                  <a16:creationId xmlns:a16="http://schemas.microsoft.com/office/drawing/2014/main" id="{EEE8532D-E6E7-4BD0-9A45-58E8A1A93D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1" name="Freeform 24">
              <a:extLst>
                <a:ext uri="{FF2B5EF4-FFF2-40B4-BE49-F238E27FC236}">
                  <a16:creationId xmlns:a16="http://schemas.microsoft.com/office/drawing/2014/main" id="{2B2B85B8-C753-425A-ACC5-3B2B2268FE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2" name="Freeform 25">
              <a:extLst>
                <a:ext uri="{FF2B5EF4-FFF2-40B4-BE49-F238E27FC236}">
                  <a16:creationId xmlns:a16="http://schemas.microsoft.com/office/drawing/2014/main" id="{023916B4-1AD7-4055-9353-DB438003EF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3" name="Freeform 26">
              <a:extLst>
                <a:ext uri="{FF2B5EF4-FFF2-40B4-BE49-F238E27FC236}">
                  <a16:creationId xmlns:a16="http://schemas.microsoft.com/office/drawing/2014/main" id="{6D2086AF-BC95-4BE8-AB84-A66F4C80A6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4" name="Freeform 27">
              <a:extLst>
                <a:ext uri="{FF2B5EF4-FFF2-40B4-BE49-F238E27FC236}">
                  <a16:creationId xmlns:a16="http://schemas.microsoft.com/office/drawing/2014/main" id="{E7A147C6-9FDA-4D95-A42A-92861D17D6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5" name="Freeform 28">
              <a:extLst>
                <a:ext uri="{FF2B5EF4-FFF2-40B4-BE49-F238E27FC236}">
                  <a16:creationId xmlns:a16="http://schemas.microsoft.com/office/drawing/2014/main" id="{45D5BF2A-EF85-417C-B03F-30CEAE118D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6" name="Freeform 29">
              <a:extLst>
                <a:ext uri="{FF2B5EF4-FFF2-40B4-BE49-F238E27FC236}">
                  <a16:creationId xmlns:a16="http://schemas.microsoft.com/office/drawing/2014/main" id="{795098EC-2ACB-4C39-AA2D-A12FF06BA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7" name="Freeform 30">
              <a:extLst>
                <a:ext uri="{FF2B5EF4-FFF2-40B4-BE49-F238E27FC236}">
                  <a16:creationId xmlns:a16="http://schemas.microsoft.com/office/drawing/2014/main" id="{447048D5-71A3-4A33-9E51-0388E2EC90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8" name="Freeform 31">
              <a:extLst>
                <a:ext uri="{FF2B5EF4-FFF2-40B4-BE49-F238E27FC236}">
                  <a16:creationId xmlns:a16="http://schemas.microsoft.com/office/drawing/2014/main" id="{5866A8C0-C096-47DA-9C8E-D82E74E47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9" name="Freeform 32">
              <a:extLst>
                <a:ext uri="{FF2B5EF4-FFF2-40B4-BE49-F238E27FC236}">
                  <a16:creationId xmlns:a16="http://schemas.microsoft.com/office/drawing/2014/main" id="{4B91E936-1F6C-4BAE-9F8C-2A198926D7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0" name="Freeform 34">
              <a:extLst>
                <a:ext uri="{FF2B5EF4-FFF2-40B4-BE49-F238E27FC236}">
                  <a16:creationId xmlns:a16="http://schemas.microsoft.com/office/drawing/2014/main" id="{88823701-A9F3-4323-AD0C-A2AD4BE0B9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1" name="Freeform 35">
              <a:extLst>
                <a:ext uri="{FF2B5EF4-FFF2-40B4-BE49-F238E27FC236}">
                  <a16:creationId xmlns:a16="http://schemas.microsoft.com/office/drawing/2014/main" id="{C495104A-F915-4B0C-961E-EF42EEA3C8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2" name="Freeform 36">
              <a:extLst>
                <a:ext uri="{FF2B5EF4-FFF2-40B4-BE49-F238E27FC236}">
                  <a16:creationId xmlns:a16="http://schemas.microsoft.com/office/drawing/2014/main" id="{6A51DB3B-303A-4D1F-A5E4-A76D700245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3" name="Freeform 37">
              <a:extLst>
                <a:ext uri="{FF2B5EF4-FFF2-40B4-BE49-F238E27FC236}">
                  <a16:creationId xmlns:a16="http://schemas.microsoft.com/office/drawing/2014/main" id="{E2E2D34A-EEA4-4A9C-81F3-B794F5CEFE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4" name="Freeform 38">
              <a:extLst>
                <a:ext uri="{FF2B5EF4-FFF2-40B4-BE49-F238E27FC236}">
                  <a16:creationId xmlns:a16="http://schemas.microsoft.com/office/drawing/2014/main" id="{8B3BECFC-710D-46F1-96FF-B5371F927C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5" name="Freeform 39">
              <a:extLst>
                <a:ext uri="{FF2B5EF4-FFF2-40B4-BE49-F238E27FC236}">
                  <a16:creationId xmlns:a16="http://schemas.microsoft.com/office/drawing/2014/main" id="{90665531-8DF2-4759-B8DB-FEF6D91D48E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6" name="Freeform 40">
              <a:extLst>
                <a:ext uri="{FF2B5EF4-FFF2-40B4-BE49-F238E27FC236}">
                  <a16:creationId xmlns:a16="http://schemas.microsoft.com/office/drawing/2014/main" id="{26F566F5-E589-4F94-81DD-DD2CA39F85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7" name="Freeform 41">
              <a:extLst>
                <a:ext uri="{FF2B5EF4-FFF2-40B4-BE49-F238E27FC236}">
                  <a16:creationId xmlns:a16="http://schemas.microsoft.com/office/drawing/2014/main" id="{AD2F1B90-FBA5-468A-ADE5-6AF4A84870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8" name="Freeform 42">
              <a:extLst>
                <a:ext uri="{FF2B5EF4-FFF2-40B4-BE49-F238E27FC236}">
                  <a16:creationId xmlns:a16="http://schemas.microsoft.com/office/drawing/2014/main" id="{2FD588FF-B434-4865-9645-F295045E86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9" name="Freeform 43">
              <a:extLst>
                <a:ext uri="{FF2B5EF4-FFF2-40B4-BE49-F238E27FC236}">
                  <a16:creationId xmlns:a16="http://schemas.microsoft.com/office/drawing/2014/main" id="{19302DA6-B22F-4EF5-A69A-ABD9063A8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0" name="Freeform 44">
              <a:extLst>
                <a:ext uri="{FF2B5EF4-FFF2-40B4-BE49-F238E27FC236}">
                  <a16:creationId xmlns:a16="http://schemas.microsoft.com/office/drawing/2014/main" id="{FE7EC85F-4555-4FCA-8CCD-19C42F488E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1" name="Freeform 45">
              <a:extLst>
                <a:ext uri="{FF2B5EF4-FFF2-40B4-BE49-F238E27FC236}">
                  <a16:creationId xmlns:a16="http://schemas.microsoft.com/office/drawing/2014/main" id="{1962168F-4DE0-46A6-8EFD-C4A1BA3751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2" name="Freeform 46">
              <a:extLst>
                <a:ext uri="{FF2B5EF4-FFF2-40B4-BE49-F238E27FC236}">
                  <a16:creationId xmlns:a16="http://schemas.microsoft.com/office/drawing/2014/main" id="{7B9E10B1-1CAA-4E4C-B256-1BA034A292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3" name="Freeform 47">
              <a:extLst>
                <a:ext uri="{FF2B5EF4-FFF2-40B4-BE49-F238E27FC236}">
                  <a16:creationId xmlns:a16="http://schemas.microsoft.com/office/drawing/2014/main" id="{A8D8148A-C053-4A37-844E-75EF041690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4" name="Freeform 48">
              <a:extLst>
                <a:ext uri="{FF2B5EF4-FFF2-40B4-BE49-F238E27FC236}">
                  <a16:creationId xmlns:a16="http://schemas.microsoft.com/office/drawing/2014/main" id="{A20CEF9E-743B-4F98-9FF0-EBBBC4FEB2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5" name="Freeform 49">
              <a:extLst>
                <a:ext uri="{FF2B5EF4-FFF2-40B4-BE49-F238E27FC236}">
                  <a16:creationId xmlns:a16="http://schemas.microsoft.com/office/drawing/2014/main" id="{B790B20E-FD43-462D-8007-EC2B15D8FC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6" name="Freeform 50">
              <a:extLst>
                <a:ext uri="{FF2B5EF4-FFF2-40B4-BE49-F238E27FC236}">
                  <a16:creationId xmlns:a16="http://schemas.microsoft.com/office/drawing/2014/main" id="{3DCCF01C-7444-4B23-BDF1-D8027642EA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7" name="Freeform 51">
              <a:extLst>
                <a:ext uri="{FF2B5EF4-FFF2-40B4-BE49-F238E27FC236}">
                  <a16:creationId xmlns:a16="http://schemas.microsoft.com/office/drawing/2014/main" id="{9C1F7A58-7A43-4EF6-8310-FC2223E349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8" name="Freeform 52">
              <a:extLst>
                <a:ext uri="{FF2B5EF4-FFF2-40B4-BE49-F238E27FC236}">
                  <a16:creationId xmlns:a16="http://schemas.microsoft.com/office/drawing/2014/main" id="{CFADC32E-9FC7-4E6E-842D-E7A407A37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9" name="Freeform 53">
              <a:extLst>
                <a:ext uri="{FF2B5EF4-FFF2-40B4-BE49-F238E27FC236}">
                  <a16:creationId xmlns:a16="http://schemas.microsoft.com/office/drawing/2014/main" id="{D5B27FA2-8D3C-408A-9480-A049E6D384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0" name="Freeform 54">
              <a:extLst>
                <a:ext uri="{FF2B5EF4-FFF2-40B4-BE49-F238E27FC236}">
                  <a16:creationId xmlns:a16="http://schemas.microsoft.com/office/drawing/2014/main" id="{1FE7A3D8-FB06-4617-BFC5-9D2DCCA8AB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1" name="Freeform 55">
              <a:extLst>
                <a:ext uri="{FF2B5EF4-FFF2-40B4-BE49-F238E27FC236}">
                  <a16:creationId xmlns:a16="http://schemas.microsoft.com/office/drawing/2014/main" id="{465E4A38-A19E-4A38-8E8A-A82D12FA5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2" name="Freeform 56">
              <a:extLst>
                <a:ext uri="{FF2B5EF4-FFF2-40B4-BE49-F238E27FC236}">
                  <a16:creationId xmlns:a16="http://schemas.microsoft.com/office/drawing/2014/main" id="{A1F24538-62EE-43F6-AFF0-9E5AC6235F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3" name="Freeform 57">
              <a:extLst>
                <a:ext uri="{FF2B5EF4-FFF2-40B4-BE49-F238E27FC236}">
                  <a16:creationId xmlns:a16="http://schemas.microsoft.com/office/drawing/2014/main" id="{E45D68DF-3FB9-4397-9E42-B8F0FD2CBC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4" name="Freeform 58">
              <a:extLst>
                <a:ext uri="{FF2B5EF4-FFF2-40B4-BE49-F238E27FC236}">
                  <a16:creationId xmlns:a16="http://schemas.microsoft.com/office/drawing/2014/main" id="{A559BEA7-D8F9-48FE-8B9C-D2CC236311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5" name="Freeform 59">
              <a:extLst>
                <a:ext uri="{FF2B5EF4-FFF2-40B4-BE49-F238E27FC236}">
                  <a16:creationId xmlns:a16="http://schemas.microsoft.com/office/drawing/2014/main" id="{00C3857F-D388-4662-B791-624CEA2D4E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6" name="Freeform 60">
              <a:extLst>
                <a:ext uri="{FF2B5EF4-FFF2-40B4-BE49-F238E27FC236}">
                  <a16:creationId xmlns:a16="http://schemas.microsoft.com/office/drawing/2014/main" id="{509EDC47-72F4-4A73-A0DC-EFEEA7F78B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7" name="Freeform 61">
              <a:extLst>
                <a:ext uri="{FF2B5EF4-FFF2-40B4-BE49-F238E27FC236}">
                  <a16:creationId xmlns:a16="http://schemas.microsoft.com/office/drawing/2014/main" id="{82FD3E03-FA3C-47B4-A46E-1FDBD51C45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8" name="Freeform 62">
              <a:extLst>
                <a:ext uri="{FF2B5EF4-FFF2-40B4-BE49-F238E27FC236}">
                  <a16:creationId xmlns:a16="http://schemas.microsoft.com/office/drawing/2014/main" id="{B71695B0-B6B0-40D5-8FAF-58EC726C64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</p:grp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9F2674CC-72EB-4595-86BE-D02CD83455CE}"/>
              </a:ext>
            </a:extLst>
          </p:cNvPr>
          <p:cNvSpPr/>
          <p:nvPr userDrawn="1"/>
        </p:nvSpPr>
        <p:spPr>
          <a:xfrm>
            <a:off x="6272240" y="1030147"/>
            <a:ext cx="5919758" cy="5825419"/>
          </a:xfrm>
          <a:custGeom>
            <a:avLst/>
            <a:gdLst>
              <a:gd name="connsiteX0" fmla="*/ 5919758 w 5919758"/>
              <a:gd name="connsiteY0" fmla="*/ 0 h 5825419"/>
              <a:gd name="connsiteX1" fmla="*/ 5919758 w 5919758"/>
              <a:gd name="connsiteY1" fmla="*/ 5825419 h 5825419"/>
              <a:gd name="connsiteX2" fmla="*/ 1120273 w 5919758"/>
              <a:gd name="connsiteY2" fmla="*/ 5825419 h 5825419"/>
              <a:gd name="connsiteX3" fmla="*/ 0 w 5919758"/>
              <a:gd name="connsiteY3" fmla="*/ 1588036 h 582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9758" h="5825419">
                <a:moveTo>
                  <a:pt x="5919758" y="0"/>
                </a:moveTo>
                <a:lnTo>
                  <a:pt x="5919758" y="5825419"/>
                </a:lnTo>
                <a:lnTo>
                  <a:pt x="1120273" y="5825419"/>
                </a:lnTo>
                <a:lnTo>
                  <a:pt x="0" y="1588036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74019" t="-38771" r="-74019" b="-3877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4" name="Text Placeholder 140">
            <a:extLst>
              <a:ext uri="{FF2B5EF4-FFF2-40B4-BE49-F238E27FC236}">
                <a16:creationId xmlns:a16="http://schemas.microsoft.com/office/drawing/2014/main" id="{C2FB46BE-AAF7-42FF-9037-1C6EE88FE3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3" y="5394937"/>
            <a:ext cx="4772202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bg1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66" name="Text Placeholder 135">
            <a:extLst>
              <a:ext uri="{FF2B5EF4-FFF2-40B4-BE49-F238E27FC236}">
                <a16:creationId xmlns:a16="http://schemas.microsoft.com/office/drawing/2014/main" id="{262CC006-DD2A-4ACA-910F-2010703F4F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21621343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Mov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A3F1C04-3200-4425-86D0-2F9E2EAC9EF4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4772203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1200"/>
              </a:spcAft>
              <a:buNone/>
              <a:defRPr sz="3800" b="1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67" name="Group 4">
            <a:extLst>
              <a:ext uri="{FF2B5EF4-FFF2-40B4-BE49-F238E27FC236}">
                <a16:creationId xmlns:a16="http://schemas.microsoft.com/office/drawing/2014/main" id="{17413FA8-B926-4F79-BE67-4D826E05949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21066" y="453777"/>
            <a:ext cx="1662286" cy="1666547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68" name="AutoShape 3">
              <a:extLst>
                <a:ext uri="{FF2B5EF4-FFF2-40B4-BE49-F238E27FC236}">
                  <a16:creationId xmlns:a16="http://schemas.microsoft.com/office/drawing/2014/main" id="{67A0898D-5E9C-4ECA-8716-B27BD4E303A7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69" name="Rectangle 5">
              <a:extLst>
                <a:ext uri="{FF2B5EF4-FFF2-40B4-BE49-F238E27FC236}">
                  <a16:creationId xmlns:a16="http://schemas.microsoft.com/office/drawing/2014/main" id="{239A1E07-3A1C-41F5-92ED-8B3567E0FF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0" name="Freeform 6">
              <a:extLst>
                <a:ext uri="{FF2B5EF4-FFF2-40B4-BE49-F238E27FC236}">
                  <a16:creationId xmlns:a16="http://schemas.microsoft.com/office/drawing/2014/main" id="{E9D6C4A4-2B67-4288-817E-9A4BFFCA30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1" name="Freeform 7">
              <a:extLst>
                <a:ext uri="{FF2B5EF4-FFF2-40B4-BE49-F238E27FC236}">
                  <a16:creationId xmlns:a16="http://schemas.microsoft.com/office/drawing/2014/main" id="{6B8D6F90-2C6B-4628-AE61-C65FEE4878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C0E4DAA6-41BC-4FB2-8CF3-65E9131F42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3" name="Freeform 9">
              <a:extLst>
                <a:ext uri="{FF2B5EF4-FFF2-40B4-BE49-F238E27FC236}">
                  <a16:creationId xmlns:a16="http://schemas.microsoft.com/office/drawing/2014/main" id="{2474DAF8-D7A5-411C-A001-70D5A07D88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4" name="Freeform 10">
              <a:extLst>
                <a:ext uri="{FF2B5EF4-FFF2-40B4-BE49-F238E27FC236}">
                  <a16:creationId xmlns:a16="http://schemas.microsoft.com/office/drawing/2014/main" id="{06B8E519-0572-4B3F-9254-9C405ADACC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5" name="Freeform 11">
              <a:extLst>
                <a:ext uri="{FF2B5EF4-FFF2-40B4-BE49-F238E27FC236}">
                  <a16:creationId xmlns:a16="http://schemas.microsoft.com/office/drawing/2014/main" id="{4DA47499-7EFA-44C7-93C9-40237E640F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6" name="Freeform 12">
              <a:extLst>
                <a:ext uri="{FF2B5EF4-FFF2-40B4-BE49-F238E27FC236}">
                  <a16:creationId xmlns:a16="http://schemas.microsoft.com/office/drawing/2014/main" id="{C8EA471D-6FAF-4C4F-B21D-814C5991B9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7" name="Freeform 13">
              <a:extLst>
                <a:ext uri="{FF2B5EF4-FFF2-40B4-BE49-F238E27FC236}">
                  <a16:creationId xmlns:a16="http://schemas.microsoft.com/office/drawing/2014/main" id="{BEC055FD-07C4-4F86-A926-EFFCD0E704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8" name="Freeform 14">
              <a:extLst>
                <a:ext uri="{FF2B5EF4-FFF2-40B4-BE49-F238E27FC236}">
                  <a16:creationId xmlns:a16="http://schemas.microsoft.com/office/drawing/2014/main" id="{DBC8C3F1-E782-4E33-8648-C0D9005D2F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37" name="Freeform 15">
              <a:extLst>
                <a:ext uri="{FF2B5EF4-FFF2-40B4-BE49-F238E27FC236}">
                  <a16:creationId xmlns:a16="http://schemas.microsoft.com/office/drawing/2014/main" id="{511543D3-2D83-4FA7-A510-0D59ED4DFD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1" name="Freeform 16">
              <a:extLst>
                <a:ext uri="{FF2B5EF4-FFF2-40B4-BE49-F238E27FC236}">
                  <a16:creationId xmlns:a16="http://schemas.microsoft.com/office/drawing/2014/main" id="{5C99A006-6A36-4318-A0F6-FC763AF1FD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2" name="Freeform 17">
              <a:extLst>
                <a:ext uri="{FF2B5EF4-FFF2-40B4-BE49-F238E27FC236}">
                  <a16:creationId xmlns:a16="http://schemas.microsoft.com/office/drawing/2014/main" id="{D65C69B5-F055-4C41-976C-E6733BC98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3" name="Freeform 18">
              <a:extLst>
                <a:ext uri="{FF2B5EF4-FFF2-40B4-BE49-F238E27FC236}">
                  <a16:creationId xmlns:a16="http://schemas.microsoft.com/office/drawing/2014/main" id="{1A3177FB-A0BD-4B08-B181-14A829DF1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4" name="Freeform 19">
              <a:extLst>
                <a:ext uri="{FF2B5EF4-FFF2-40B4-BE49-F238E27FC236}">
                  <a16:creationId xmlns:a16="http://schemas.microsoft.com/office/drawing/2014/main" id="{3528B336-8FBC-4C1E-B4B2-C99449F8E8B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5" name="Freeform 20">
              <a:extLst>
                <a:ext uri="{FF2B5EF4-FFF2-40B4-BE49-F238E27FC236}">
                  <a16:creationId xmlns:a16="http://schemas.microsoft.com/office/drawing/2014/main" id="{BD4F46C1-2FE6-44C8-A55E-45E98246F6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8" name="Rectangle 21">
              <a:extLst>
                <a:ext uri="{FF2B5EF4-FFF2-40B4-BE49-F238E27FC236}">
                  <a16:creationId xmlns:a16="http://schemas.microsoft.com/office/drawing/2014/main" id="{09DD4248-B5EF-40DF-AEE7-8BD9A8A741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9" name="Freeform 22">
              <a:extLst>
                <a:ext uri="{FF2B5EF4-FFF2-40B4-BE49-F238E27FC236}">
                  <a16:creationId xmlns:a16="http://schemas.microsoft.com/office/drawing/2014/main" id="{0EF4CE3A-3112-407D-B00C-337ACD7FDA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0" name="Freeform 23">
              <a:extLst>
                <a:ext uri="{FF2B5EF4-FFF2-40B4-BE49-F238E27FC236}">
                  <a16:creationId xmlns:a16="http://schemas.microsoft.com/office/drawing/2014/main" id="{EEE8532D-E6E7-4BD0-9A45-58E8A1A93D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1" name="Freeform 24">
              <a:extLst>
                <a:ext uri="{FF2B5EF4-FFF2-40B4-BE49-F238E27FC236}">
                  <a16:creationId xmlns:a16="http://schemas.microsoft.com/office/drawing/2014/main" id="{2B2B85B8-C753-425A-ACC5-3B2B2268FE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2" name="Freeform 25">
              <a:extLst>
                <a:ext uri="{FF2B5EF4-FFF2-40B4-BE49-F238E27FC236}">
                  <a16:creationId xmlns:a16="http://schemas.microsoft.com/office/drawing/2014/main" id="{023916B4-1AD7-4055-9353-DB438003EF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3" name="Freeform 26">
              <a:extLst>
                <a:ext uri="{FF2B5EF4-FFF2-40B4-BE49-F238E27FC236}">
                  <a16:creationId xmlns:a16="http://schemas.microsoft.com/office/drawing/2014/main" id="{6D2086AF-BC95-4BE8-AB84-A66F4C80A6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4" name="Freeform 27">
              <a:extLst>
                <a:ext uri="{FF2B5EF4-FFF2-40B4-BE49-F238E27FC236}">
                  <a16:creationId xmlns:a16="http://schemas.microsoft.com/office/drawing/2014/main" id="{E7A147C6-9FDA-4D95-A42A-92861D17D6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5" name="Freeform 28">
              <a:extLst>
                <a:ext uri="{FF2B5EF4-FFF2-40B4-BE49-F238E27FC236}">
                  <a16:creationId xmlns:a16="http://schemas.microsoft.com/office/drawing/2014/main" id="{45D5BF2A-EF85-417C-B03F-30CEAE118D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6" name="Freeform 29">
              <a:extLst>
                <a:ext uri="{FF2B5EF4-FFF2-40B4-BE49-F238E27FC236}">
                  <a16:creationId xmlns:a16="http://schemas.microsoft.com/office/drawing/2014/main" id="{795098EC-2ACB-4C39-AA2D-A12FF06BA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7" name="Freeform 30">
              <a:extLst>
                <a:ext uri="{FF2B5EF4-FFF2-40B4-BE49-F238E27FC236}">
                  <a16:creationId xmlns:a16="http://schemas.microsoft.com/office/drawing/2014/main" id="{447048D5-71A3-4A33-9E51-0388E2EC90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8" name="Freeform 31">
              <a:extLst>
                <a:ext uri="{FF2B5EF4-FFF2-40B4-BE49-F238E27FC236}">
                  <a16:creationId xmlns:a16="http://schemas.microsoft.com/office/drawing/2014/main" id="{5866A8C0-C096-47DA-9C8E-D82E74E47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9" name="Freeform 32">
              <a:extLst>
                <a:ext uri="{FF2B5EF4-FFF2-40B4-BE49-F238E27FC236}">
                  <a16:creationId xmlns:a16="http://schemas.microsoft.com/office/drawing/2014/main" id="{4B91E936-1F6C-4BAE-9F8C-2A198926D7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0" name="Freeform 34">
              <a:extLst>
                <a:ext uri="{FF2B5EF4-FFF2-40B4-BE49-F238E27FC236}">
                  <a16:creationId xmlns:a16="http://schemas.microsoft.com/office/drawing/2014/main" id="{88823701-A9F3-4323-AD0C-A2AD4BE0B9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1" name="Freeform 35">
              <a:extLst>
                <a:ext uri="{FF2B5EF4-FFF2-40B4-BE49-F238E27FC236}">
                  <a16:creationId xmlns:a16="http://schemas.microsoft.com/office/drawing/2014/main" id="{C495104A-F915-4B0C-961E-EF42EEA3C8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2" name="Freeform 36">
              <a:extLst>
                <a:ext uri="{FF2B5EF4-FFF2-40B4-BE49-F238E27FC236}">
                  <a16:creationId xmlns:a16="http://schemas.microsoft.com/office/drawing/2014/main" id="{6A51DB3B-303A-4D1F-A5E4-A76D700245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3" name="Freeform 37">
              <a:extLst>
                <a:ext uri="{FF2B5EF4-FFF2-40B4-BE49-F238E27FC236}">
                  <a16:creationId xmlns:a16="http://schemas.microsoft.com/office/drawing/2014/main" id="{E2E2D34A-EEA4-4A9C-81F3-B794F5CEFE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4" name="Freeform 38">
              <a:extLst>
                <a:ext uri="{FF2B5EF4-FFF2-40B4-BE49-F238E27FC236}">
                  <a16:creationId xmlns:a16="http://schemas.microsoft.com/office/drawing/2014/main" id="{8B3BECFC-710D-46F1-96FF-B5371F927C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5" name="Freeform 39">
              <a:extLst>
                <a:ext uri="{FF2B5EF4-FFF2-40B4-BE49-F238E27FC236}">
                  <a16:creationId xmlns:a16="http://schemas.microsoft.com/office/drawing/2014/main" id="{90665531-8DF2-4759-B8DB-FEF6D91D48E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6" name="Freeform 40">
              <a:extLst>
                <a:ext uri="{FF2B5EF4-FFF2-40B4-BE49-F238E27FC236}">
                  <a16:creationId xmlns:a16="http://schemas.microsoft.com/office/drawing/2014/main" id="{26F566F5-E589-4F94-81DD-DD2CA39F85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7" name="Freeform 41">
              <a:extLst>
                <a:ext uri="{FF2B5EF4-FFF2-40B4-BE49-F238E27FC236}">
                  <a16:creationId xmlns:a16="http://schemas.microsoft.com/office/drawing/2014/main" id="{AD2F1B90-FBA5-468A-ADE5-6AF4A84870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8" name="Freeform 42">
              <a:extLst>
                <a:ext uri="{FF2B5EF4-FFF2-40B4-BE49-F238E27FC236}">
                  <a16:creationId xmlns:a16="http://schemas.microsoft.com/office/drawing/2014/main" id="{2FD588FF-B434-4865-9645-F295045E86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9" name="Freeform 43">
              <a:extLst>
                <a:ext uri="{FF2B5EF4-FFF2-40B4-BE49-F238E27FC236}">
                  <a16:creationId xmlns:a16="http://schemas.microsoft.com/office/drawing/2014/main" id="{19302DA6-B22F-4EF5-A69A-ABD9063A8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0" name="Freeform 44">
              <a:extLst>
                <a:ext uri="{FF2B5EF4-FFF2-40B4-BE49-F238E27FC236}">
                  <a16:creationId xmlns:a16="http://schemas.microsoft.com/office/drawing/2014/main" id="{FE7EC85F-4555-4FCA-8CCD-19C42F488E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1" name="Freeform 45">
              <a:extLst>
                <a:ext uri="{FF2B5EF4-FFF2-40B4-BE49-F238E27FC236}">
                  <a16:creationId xmlns:a16="http://schemas.microsoft.com/office/drawing/2014/main" id="{1962168F-4DE0-46A6-8EFD-C4A1BA3751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2" name="Freeform 46">
              <a:extLst>
                <a:ext uri="{FF2B5EF4-FFF2-40B4-BE49-F238E27FC236}">
                  <a16:creationId xmlns:a16="http://schemas.microsoft.com/office/drawing/2014/main" id="{7B9E10B1-1CAA-4E4C-B256-1BA034A292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3" name="Freeform 47">
              <a:extLst>
                <a:ext uri="{FF2B5EF4-FFF2-40B4-BE49-F238E27FC236}">
                  <a16:creationId xmlns:a16="http://schemas.microsoft.com/office/drawing/2014/main" id="{A8D8148A-C053-4A37-844E-75EF041690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4" name="Freeform 48">
              <a:extLst>
                <a:ext uri="{FF2B5EF4-FFF2-40B4-BE49-F238E27FC236}">
                  <a16:creationId xmlns:a16="http://schemas.microsoft.com/office/drawing/2014/main" id="{A20CEF9E-743B-4F98-9FF0-EBBBC4FEB2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5" name="Freeform 49">
              <a:extLst>
                <a:ext uri="{FF2B5EF4-FFF2-40B4-BE49-F238E27FC236}">
                  <a16:creationId xmlns:a16="http://schemas.microsoft.com/office/drawing/2014/main" id="{B790B20E-FD43-462D-8007-EC2B15D8FC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6" name="Freeform 50">
              <a:extLst>
                <a:ext uri="{FF2B5EF4-FFF2-40B4-BE49-F238E27FC236}">
                  <a16:creationId xmlns:a16="http://schemas.microsoft.com/office/drawing/2014/main" id="{3DCCF01C-7444-4B23-BDF1-D8027642EA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7" name="Freeform 51">
              <a:extLst>
                <a:ext uri="{FF2B5EF4-FFF2-40B4-BE49-F238E27FC236}">
                  <a16:creationId xmlns:a16="http://schemas.microsoft.com/office/drawing/2014/main" id="{9C1F7A58-7A43-4EF6-8310-FC2223E349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8" name="Freeform 52">
              <a:extLst>
                <a:ext uri="{FF2B5EF4-FFF2-40B4-BE49-F238E27FC236}">
                  <a16:creationId xmlns:a16="http://schemas.microsoft.com/office/drawing/2014/main" id="{CFADC32E-9FC7-4E6E-842D-E7A407A37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9" name="Freeform 53">
              <a:extLst>
                <a:ext uri="{FF2B5EF4-FFF2-40B4-BE49-F238E27FC236}">
                  <a16:creationId xmlns:a16="http://schemas.microsoft.com/office/drawing/2014/main" id="{D5B27FA2-8D3C-408A-9480-A049E6D384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0" name="Freeform 54">
              <a:extLst>
                <a:ext uri="{FF2B5EF4-FFF2-40B4-BE49-F238E27FC236}">
                  <a16:creationId xmlns:a16="http://schemas.microsoft.com/office/drawing/2014/main" id="{1FE7A3D8-FB06-4617-BFC5-9D2DCCA8AB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1" name="Freeform 55">
              <a:extLst>
                <a:ext uri="{FF2B5EF4-FFF2-40B4-BE49-F238E27FC236}">
                  <a16:creationId xmlns:a16="http://schemas.microsoft.com/office/drawing/2014/main" id="{465E4A38-A19E-4A38-8E8A-A82D12FA5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2" name="Freeform 56">
              <a:extLst>
                <a:ext uri="{FF2B5EF4-FFF2-40B4-BE49-F238E27FC236}">
                  <a16:creationId xmlns:a16="http://schemas.microsoft.com/office/drawing/2014/main" id="{A1F24538-62EE-43F6-AFF0-9E5AC6235F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3" name="Freeform 57">
              <a:extLst>
                <a:ext uri="{FF2B5EF4-FFF2-40B4-BE49-F238E27FC236}">
                  <a16:creationId xmlns:a16="http://schemas.microsoft.com/office/drawing/2014/main" id="{E45D68DF-3FB9-4397-9E42-B8F0FD2CBC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4" name="Freeform 58">
              <a:extLst>
                <a:ext uri="{FF2B5EF4-FFF2-40B4-BE49-F238E27FC236}">
                  <a16:creationId xmlns:a16="http://schemas.microsoft.com/office/drawing/2014/main" id="{A559BEA7-D8F9-48FE-8B9C-D2CC236311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5" name="Freeform 59">
              <a:extLst>
                <a:ext uri="{FF2B5EF4-FFF2-40B4-BE49-F238E27FC236}">
                  <a16:creationId xmlns:a16="http://schemas.microsoft.com/office/drawing/2014/main" id="{00C3857F-D388-4662-B791-624CEA2D4E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6" name="Freeform 60">
              <a:extLst>
                <a:ext uri="{FF2B5EF4-FFF2-40B4-BE49-F238E27FC236}">
                  <a16:creationId xmlns:a16="http://schemas.microsoft.com/office/drawing/2014/main" id="{509EDC47-72F4-4A73-A0DC-EFEEA7F78B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7" name="Freeform 61">
              <a:extLst>
                <a:ext uri="{FF2B5EF4-FFF2-40B4-BE49-F238E27FC236}">
                  <a16:creationId xmlns:a16="http://schemas.microsoft.com/office/drawing/2014/main" id="{82FD3E03-FA3C-47B4-A46E-1FDBD51C45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8" name="Freeform 62">
              <a:extLst>
                <a:ext uri="{FF2B5EF4-FFF2-40B4-BE49-F238E27FC236}">
                  <a16:creationId xmlns:a16="http://schemas.microsoft.com/office/drawing/2014/main" id="{B71695B0-B6B0-40D5-8FAF-58EC726C64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</p:grp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6725A7B3-05B9-43EC-BD6A-2951B7878023}"/>
              </a:ext>
            </a:extLst>
          </p:cNvPr>
          <p:cNvSpPr/>
          <p:nvPr userDrawn="1"/>
        </p:nvSpPr>
        <p:spPr>
          <a:xfrm>
            <a:off x="6272240" y="1030147"/>
            <a:ext cx="5919758" cy="5825419"/>
          </a:xfrm>
          <a:custGeom>
            <a:avLst/>
            <a:gdLst>
              <a:gd name="connsiteX0" fmla="*/ 5919758 w 5919758"/>
              <a:gd name="connsiteY0" fmla="*/ 0 h 5825419"/>
              <a:gd name="connsiteX1" fmla="*/ 5919758 w 5919758"/>
              <a:gd name="connsiteY1" fmla="*/ 5825419 h 5825419"/>
              <a:gd name="connsiteX2" fmla="*/ 1120273 w 5919758"/>
              <a:gd name="connsiteY2" fmla="*/ 5825419 h 5825419"/>
              <a:gd name="connsiteX3" fmla="*/ 0 w 5919758"/>
              <a:gd name="connsiteY3" fmla="*/ 1588036 h 582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9758" h="5825419">
                <a:moveTo>
                  <a:pt x="5919758" y="0"/>
                </a:moveTo>
                <a:lnTo>
                  <a:pt x="5919758" y="5825419"/>
                </a:lnTo>
                <a:lnTo>
                  <a:pt x="1120273" y="5825419"/>
                </a:lnTo>
                <a:lnTo>
                  <a:pt x="0" y="1588036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34594" t="-16266" r="-34594" b="-1626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3" name="Text Placeholder 140">
            <a:extLst>
              <a:ext uri="{FF2B5EF4-FFF2-40B4-BE49-F238E27FC236}">
                <a16:creationId xmlns:a16="http://schemas.microsoft.com/office/drawing/2014/main" id="{3AF26A12-2ED5-4400-ADF5-846B94638F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3" y="5394937"/>
            <a:ext cx="4772202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bg1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79" name="Text Placeholder 135">
            <a:extLst>
              <a:ext uri="{FF2B5EF4-FFF2-40B4-BE49-F238E27FC236}">
                <a16:creationId xmlns:a16="http://schemas.microsoft.com/office/drawing/2014/main" id="{EDA5586F-18E7-4601-96CA-50CD2AA81EC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6385034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-Discov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890DF213-662F-4F0F-AF3A-12E90D6AB403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4772203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600"/>
              </a:spcAft>
              <a:buNone/>
              <a:defRPr sz="3800" b="1">
                <a:solidFill>
                  <a:schemeClr val="tx2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70" name="Group 4">
            <a:extLst>
              <a:ext uri="{FF2B5EF4-FFF2-40B4-BE49-F238E27FC236}">
                <a16:creationId xmlns:a16="http://schemas.microsoft.com/office/drawing/2014/main" id="{3AFBB0F5-5EB0-405F-9812-3F6111C207C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07255" y="616633"/>
            <a:ext cx="1440000" cy="1443689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72" name="AutoShape 3">
              <a:extLst>
                <a:ext uri="{FF2B5EF4-FFF2-40B4-BE49-F238E27FC236}">
                  <a16:creationId xmlns:a16="http://schemas.microsoft.com/office/drawing/2014/main" id="{EE348DCA-F65E-472C-8E94-01A3FE818B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3" name="Rectangle 5">
              <a:extLst>
                <a:ext uri="{FF2B5EF4-FFF2-40B4-BE49-F238E27FC236}">
                  <a16:creationId xmlns:a16="http://schemas.microsoft.com/office/drawing/2014/main" id="{43ED83A1-CC4D-42EA-8ABE-37ED66A648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6" name="Freeform 6">
              <a:extLst>
                <a:ext uri="{FF2B5EF4-FFF2-40B4-BE49-F238E27FC236}">
                  <a16:creationId xmlns:a16="http://schemas.microsoft.com/office/drawing/2014/main" id="{C14D3AFF-4015-4ADB-AB21-B4EADD0CA3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7" name="Freeform 7">
              <a:extLst>
                <a:ext uri="{FF2B5EF4-FFF2-40B4-BE49-F238E27FC236}">
                  <a16:creationId xmlns:a16="http://schemas.microsoft.com/office/drawing/2014/main" id="{338B28A6-DBB6-499A-9175-D30CDBFB6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B4F42473-3AD2-48CF-9DF2-688A050792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4CFCC169-6EE2-4286-8FE4-D99450A443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0" name="Freeform 10">
              <a:extLst>
                <a:ext uri="{FF2B5EF4-FFF2-40B4-BE49-F238E27FC236}">
                  <a16:creationId xmlns:a16="http://schemas.microsoft.com/office/drawing/2014/main" id="{9D240A6C-65D8-4404-BD21-34BFC830B9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1" name="Freeform 11">
              <a:extLst>
                <a:ext uri="{FF2B5EF4-FFF2-40B4-BE49-F238E27FC236}">
                  <a16:creationId xmlns:a16="http://schemas.microsoft.com/office/drawing/2014/main" id="{D2693798-E801-4A01-899D-3526F4E679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2" name="Freeform 12">
              <a:extLst>
                <a:ext uri="{FF2B5EF4-FFF2-40B4-BE49-F238E27FC236}">
                  <a16:creationId xmlns:a16="http://schemas.microsoft.com/office/drawing/2014/main" id="{285079AC-870B-48A5-93B9-BCEBA2C149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3" name="Freeform 13">
              <a:extLst>
                <a:ext uri="{FF2B5EF4-FFF2-40B4-BE49-F238E27FC236}">
                  <a16:creationId xmlns:a16="http://schemas.microsoft.com/office/drawing/2014/main" id="{999F3F9A-C895-4189-8520-0793CCCD0B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4" name="Freeform 14">
              <a:extLst>
                <a:ext uri="{FF2B5EF4-FFF2-40B4-BE49-F238E27FC236}">
                  <a16:creationId xmlns:a16="http://schemas.microsoft.com/office/drawing/2014/main" id="{5161D696-7B40-4240-8A0E-23B94BADBC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5" name="Freeform 15">
              <a:extLst>
                <a:ext uri="{FF2B5EF4-FFF2-40B4-BE49-F238E27FC236}">
                  <a16:creationId xmlns:a16="http://schemas.microsoft.com/office/drawing/2014/main" id="{4C75893E-D358-44AC-A3CF-2EED9778A4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6" name="Freeform 16">
              <a:extLst>
                <a:ext uri="{FF2B5EF4-FFF2-40B4-BE49-F238E27FC236}">
                  <a16:creationId xmlns:a16="http://schemas.microsoft.com/office/drawing/2014/main" id="{7637E8F0-D81C-476F-8F8E-D9920CB899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7" name="Freeform 17">
              <a:extLst>
                <a:ext uri="{FF2B5EF4-FFF2-40B4-BE49-F238E27FC236}">
                  <a16:creationId xmlns:a16="http://schemas.microsoft.com/office/drawing/2014/main" id="{871A423F-334B-41DD-AB12-69F4222E2B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8" name="Freeform 18">
              <a:extLst>
                <a:ext uri="{FF2B5EF4-FFF2-40B4-BE49-F238E27FC236}">
                  <a16:creationId xmlns:a16="http://schemas.microsoft.com/office/drawing/2014/main" id="{F58C111E-E1E0-495A-B19E-19C23BC04A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9" name="Freeform 19">
              <a:extLst>
                <a:ext uri="{FF2B5EF4-FFF2-40B4-BE49-F238E27FC236}">
                  <a16:creationId xmlns:a16="http://schemas.microsoft.com/office/drawing/2014/main" id="{C13C60D4-33A1-4116-A310-C2D5DDC4EE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0" name="Freeform 20">
              <a:extLst>
                <a:ext uri="{FF2B5EF4-FFF2-40B4-BE49-F238E27FC236}">
                  <a16:creationId xmlns:a16="http://schemas.microsoft.com/office/drawing/2014/main" id="{A48538EB-0D4D-49B9-BDCF-9D922353F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1" name="Rectangle 21">
              <a:extLst>
                <a:ext uri="{FF2B5EF4-FFF2-40B4-BE49-F238E27FC236}">
                  <a16:creationId xmlns:a16="http://schemas.microsoft.com/office/drawing/2014/main" id="{1487FAD7-88D3-4A87-99A7-7B072B555F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2" name="Freeform 22">
              <a:extLst>
                <a:ext uri="{FF2B5EF4-FFF2-40B4-BE49-F238E27FC236}">
                  <a16:creationId xmlns:a16="http://schemas.microsoft.com/office/drawing/2014/main" id="{8914B577-98F3-43EF-BC4A-E7588E200C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3" name="Freeform 23">
              <a:extLst>
                <a:ext uri="{FF2B5EF4-FFF2-40B4-BE49-F238E27FC236}">
                  <a16:creationId xmlns:a16="http://schemas.microsoft.com/office/drawing/2014/main" id="{B5308D54-22FE-4DA7-BC01-ED460072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4" name="Freeform 24">
              <a:extLst>
                <a:ext uri="{FF2B5EF4-FFF2-40B4-BE49-F238E27FC236}">
                  <a16:creationId xmlns:a16="http://schemas.microsoft.com/office/drawing/2014/main" id="{3A60EE4F-D706-499A-8872-B156049D5B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5" name="Freeform 25">
              <a:extLst>
                <a:ext uri="{FF2B5EF4-FFF2-40B4-BE49-F238E27FC236}">
                  <a16:creationId xmlns:a16="http://schemas.microsoft.com/office/drawing/2014/main" id="{3EAF6B99-79B4-43B1-842F-B1AFF0CC1E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6" name="Freeform 26">
              <a:extLst>
                <a:ext uri="{FF2B5EF4-FFF2-40B4-BE49-F238E27FC236}">
                  <a16:creationId xmlns:a16="http://schemas.microsoft.com/office/drawing/2014/main" id="{6C79F926-94C7-4522-9614-397593F62E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7" name="Freeform 27">
              <a:extLst>
                <a:ext uri="{FF2B5EF4-FFF2-40B4-BE49-F238E27FC236}">
                  <a16:creationId xmlns:a16="http://schemas.microsoft.com/office/drawing/2014/main" id="{FDD151CA-6BF4-4036-98ED-05B831B530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8" name="Freeform 28">
              <a:extLst>
                <a:ext uri="{FF2B5EF4-FFF2-40B4-BE49-F238E27FC236}">
                  <a16:creationId xmlns:a16="http://schemas.microsoft.com/office/drawing/2014/main" id="{AB448DEB-E490-4038-8414-1A68B9109C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524059C3-D356-4C34-9C06-DD896588BF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247D07C2-EC7B-4730-92FA-6B8D84B80D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5D6F08FA-2532-4558-9602-AF1744F99F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E685EBE7-869E-41B0-BCD8-FF537CBD5C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3" name="Freeform 34">
              <a:extLst>
                <a:ext uri="{FF2B5EF4-FFF2-40B4-BE49-F238E27FC236}">
                  <a16:creationId xmlns:a16="http://schemas.microsoft.com/office/drawing/2014/main" id="{C3AB8B41-7BD9-44AA-B986-74D53C9AF3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4" name="Freeform 35">
              <a:extLst>
                <a:ext uri="{FF2B5EF4-FFF2-40B4-BE49-F238E27FC236}">
                  <a16:creationId xmlns:a16="http://schemas.microsoft.com/office/drawing/2014/main" id="{EDE8817E-73C2-4561-8428-03CCAFF40C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5" name="Freeform 36">
              <a:extLst>
                <a:ext uri="{FF2B5EF4-FFF2-40B4-BE49-F238E27FC236}">
                  <a16:creationId xmlns:a16="http://schemas.microsoft.com/office/drawing/2014/main" id="{AF8224B5-9A1C-4DFC-9A81-E5FD62FB56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6" name="Freeform 37">
              <a:extLst>
                <a:ext uri="{FF2B5EF4-FFF2-40B4-BE49-F238E27FC236}">
                  <a16:creationId xmlns:a16="http://schemas.microsoft.com/office/drawing/2014/main" id="{1C2A9587-67A6-4716-977B-862BFA82E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7" name="Freeform 38">
              <a:extLst>
                <a:ext uri="{FF2B5EF4-FFF2-40B4-BE49-F238E27FC236}">
                  <a16:creationId xmlns:a16="http://schemas.microsoft.com/office/drawing/2014/main" id="{495A0897-65A5-4410-A4A7-BD794D83C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8" name="Freeform 39">
              <a:extLst>
                <a:ext uri="{FF2B5EF4-FFF2-40B4-BE49-F238E27FC236}">
                  <a16:creationId xmlns:a16="http://schemas.microsoft.com/office/drawing/2014/main" id="{7E97296E-EB49-46E9-8E93-4AA5F3E541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9" name="Freeform 40">
              <a:extLst>
                <a:ext uri="{FF2B5EF4-FFF2-40B4-BE49-F238E27FC236}">
                  <a16:creationId xmlns:a16="http://schemas.microsoft.com/office/drawing/2014/main" id="{2F3461FC-DD4F-4CA4-B2A8-7F4F566F61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0" name="Freeform 41">
              <a:extLst>
                <a:ext uri="{FF2B5EF4-FFF2-40B4-BE49-F238E27FC236}">
                  <a16:creationId xmlns:a16="http://schemas.microsoft.com/office/drawing/2014/main" id="{8908A0F4-A93F-4BE5-8463-B36A8039B5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1" name="Freeform 42">
              <a:extLst>
                <a:ext uri="{FF2B5EF4-FFF2-40B4-BE49-F238E27FC236}">
                  <a16:creationId xmlns:a16="http://schemas.microsoft.com/office/drawing/2014/main" id="{24D30A92-E7FF-424A-B0A9-AC7FE32E77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2" name="Freeform 43">
              <a:extLst>
                <a:ext uri="{FF2B5EF4-FFF2-40B4-BE49-F238E27FC236}">
                  <a16:creationId xmlns:a16="http://schemas.microsoft.com/office/drawing/2014/main" id="{B2A95380-ABEE-40CA-BBE5-1E3411D8CD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3" name="Freeform 44">
              <a:extLst>
                <a:ext uri="{FF2B5EF4-FFF2-40B4-BE49-F238E27FC236}">
                  <a16:creationId xmlns:a16="http://schemas.microsoft.com/office/drawing/2014/main" id="{25364CF1-47E1-42AA-B408-1241E63E8C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4" name="Freeform 45">
              <a:extLst>
                <a:ext uri="{FF2B5EF4-FFF2-40B4-BE49-F238E27FC236}">
                  <a16:creationId xmlns:a16="http://schemas.microsoft.com/office/drawing/2014/main" id="{722A9A6F-E73A-4E34-A53F-A559E043C3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5" name="Freeform 46">
              <a:extLst>
                <a:ext uri="{FF2B5EF4-FFF2-40B4-BE49-F238E27FC236}">
                  <a16:creationId xmlns:a16="http://schemas.microsoft.com/office/drawing/2014/main" id="{7DC776F1-D1BF-4756-9B11-A3922DD28A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6" name="Freeform 47">
              <a:extLst>
                <a:ext uri="{FF2B5EF4-FFF2-40B4-BE49-F238E27FC236}">
                  <a16:creationId xmlns:a16="http://schemas.microsoft.com/office/drawing/2014/main" id="{F702349C-C6E4-46A5-8802-BB88DD4BE2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7" name="Freeform 48">
              <a:extLst>
                <a:ext uri="{FF2B5EF4-FFF2-40B4-BE49-F238E27FC236}">
                  <a16:creationId xmlns:a16="http://schemas.microsoft.com/office/drawing/2014/main" id="{346BC6D5-9E5A-4B92-9611-F9D07EF485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8" name="Freeform 49">
              <a:extLst>
                <a:ext uri="{FF2B5EF4-FFF2-40B4-BE49-F238E27FC236}">
                  <a16:creationId xmlns:a16="http://schemas.microsoft.com/office/drawing/2014/main" id="{2A9DF814-73D8-4894-8B96-23B40E6E90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9" name="Freeform 50">
              <a:extLst>
                <a:ext uri="{FF2B5EF4-FFF2-40B4-BE49-F238E27FC236}">
                  <a16:creationId xmlns:a16="http://schemas.microsoft.com/office/drawing/2014/main" id="{58C1703B-88EC-4C9F-B827-837D126B61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0" name="Freeform 51">
              <a:extLst>
                <a:ext uri="{FF2B5EF4-FFF2-40B4-BE49-F238E27FC236}">
                  <a16:creationId xmlns:a16="http://schemas.microsoft.com/office/drawing/2014/main" id="{7589E396-ADCF-4596-8DE4-4379AFCE7E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1" name="Freeform 52">
              <a:extLst>
                <a:ext uri="{FF2B5EF4-FFF2-40B4-BE49-F238E27FC236}">
                  <a16:creationId xmlns:a16="http://schemas.microsoft.com/office/drawing/2014/main" id="{C49FDA79-CF20-4CA4-9EC3-273E88B10C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2" name="Freeform 53">
              <a:extLst>
                <a:ext uri="{FF2B5EF4-FFF2-40B4-BE49-F238E27FC236}">
                  <a16:creationId xmlns:a16="http://schemas.microsoft.com/office/drawing/2014/main" id="{EAF66CB7-8F32-4F0C-B5A2-11A6143DA7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3" name="Freeform 54">
              <a:extLst>
                <a:ext uri="{FF2B5EF4-FFF2-40B4-BE49-F238E27FC236}">
                  <a16:creationId xmlns:a16="http://schemas.microsoft.com/office/drawing/2014/main" id="{DD4F44F0-927E-4351-9C37-2EE63B71F0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4" name="Freeform 55">
              <a:extLst>
                <a:ext uri="{FF2B5EF4-FFF2-40B4-BE49-F238E27FC236}">
                  <a16:creationId xmlns:a16="http://schemas.microsoft.com/office/drawing/2014/main" id="{92AC303A-678D-4707-A16F-2DA1A07D9D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5" name="Freeform 56">
              <a:extLst>
                <a:ext uri="{FF2B5EF4-FFF2-40B4-BE49-F238E27FC236}">
                  <a16:creationId xmlns:a16="http://schemas.microsoft.com/office/drawing/2014/main" id="{4BCFC9F6-3BBE-4394-851E-3738C7D6EB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6" name="Freeform 57">
              <a:extLst>
                <a:ext uri="{FF2B5EF4-FFF2-40B4-BE49-F238E27FC236}">
                  <a16:creationId xmlns:a16="http://schemas.microsoft.com/office/drawing/2014/main" id="{D4997C90-4986-45C1-9DAC-A5D26B02F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7" name="Freeform 58">
              <a:extLst>
                <a:ext uri="{FF2B5EF4-FFF2-40B4-BE49-F238E27FC236}">
                  <a16:creationId xmlns:a16="http://schemas.microsoft.com/office/drawing/2014/main" id="{ACC13E25-4EE3-4A63-B0AF-2162BB78EC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8" name="Freeform 59">
              <a:extLst>
                <a:ext uri="{FF2B5EF4-FFF2-40B4-BE49-F238E27FC236}">
                  <a16:creationId xmlns:a16="http://schemas.microsoft.com/office/drawing/2014/main" id="{87AA0A80-577E-43A6-B738-0BAFE7F7B4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9" name="Freeform 60">
              <a:extLst>
                <a:ext uri="{FF2B5EF4-FFF2-40B4-BE49-F238E27FC236}">
                  <a16:creationId xmlns:a16="http://schemas.microsoft.com/office/drawing/2014/main" id="{3DBFF628-46A4-41BD-9FA9-3D4418E866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0" name="Freeform 61">
              <a:extLst>
                <a:ext uri="{FF2B5EF4-FFF2-40B4-BE49-F238E27FC236}">
                  <a16:creationId xmlns:a16="http://schemas.microsoft.com/office/drawing/2014/main" id="{D6413240-42B4-45DB-BBA2-56A1CDBD3C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1" name="Freeform 62">
              <a:extLst>
                <a:ext uri="{FF2B5EF4-FFF2-40B4-BE49-F238E27FC236}">
                  <a16:creationId xmlns:a16="http://schemas.microsoft.com/office/drawing/2014/main" id="{8AAB2B20-3978-4858-9836-C1351201A6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</p:grp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C553431B-6092-48C5-AD7C-F30516D7A383}"/>
              </a:ext>
            </a:extLst>
          </p:cNvPr>
          <p:cNvSpPr/>
          <p:nvPr userDrawn="1"/>
        </p:nvSpPr>
        <p:spPr>
          <a:xfrm>
            <a:off x="6272240" y="1030147"/>
            <a:ext cx="5919758" cy="5825419"/>
          </a:xfrm>
          <a:custGeom>
            <a:avLst/>
            <a:gdLst>
              <a:gd name="connsiteX0" fmla="*/ 5919758 w 5919758"/>
              <a:gd name="connsiteY0" fmla="*/ 0 h 5825419"/>
              <a:gd name="connsiteX1" fmla="*/ 5919758 w 5919758"/>
              <a:gd name="connsiteY1" fmla="*/ 5825419 h 5825419"/>
              <a:gd name="connsiteX2" fmla="*/ 1120273 w 5919758"/>
              <a:gd name="connsiteY2" fmla="*/ 5825419 h 5825419"/>
              <a:gd name="connsiteX3" fmla="*/ 0 w 5919758"/>
              <a:gd name="connsiteY3" fmla="*/ 1588036 h 582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9758" h="5825419">
                <a:moveTo>
                  <a:pt x="5919758" y="0"/>
                </a:moveTo>
                <a:lnTo>
                  <a:pt x="5919758" y="5825419"/>
                </a:lnTo>
                <a:lnTo>
                  <a:pt x="1120273" y="5825419"/>
                </a:lnTo>
                <a:lnTo>
                  <a:pt x="0" y="1588036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79808" t="-43218" r="-79808" b="-4321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2" name="Text Placeholder 140">
            <a:extLst>
              <a:ext uri="{FF2B5EF4-FFF2-40B4-BE49-F238E27FC236}">
                <a16:creationId xmlns:a16="http://schemas.microsoft.com/office/drawing/2014/main" id="{B4389B36-E541-48E7-A912-C35EE13572D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2" y="5394937"/>
            <a:ext cx="4772203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tx2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66" name="Text Placeholder 135">
            <a:extLst>
              <a:ext uri="{FF2B5EF4-FFF2-40B4-BE49-F238E27FC236}">
                <a16:creationId xmlns:a16="http://schemas.microsoft.com/office/drawing/2014/main" id="{2BA1EDDF-3973-431D-958F-640EC310C4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11995718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Picture Placeholder 74">
            <a:extLst>
              <a:ext uri="{FF2B5EF4-FFF2-40B4-BE49-F238E27FC236}">
                <a16:creationId xmlns:a16="http://schemas.microsoft.com/office/drawing/2014/main" id="{3E2304DD-D55D-458E-8153-0D330BDFEFF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1"/>
            <a:ext cx="12204000" cy="6857998"/>
          </a:xfrm>
          <a:solidFill>
            <a:schemeClr val="bg1">
              <a:lumMod val="85000"/>
            </a:schemeClr>
          </a:solidFill>
        </p:spPr>
        <p:txBody>
          <a:bodyPr lIns="360000" tIns="360000" rIns="360000" bIns="360000">
            <a:normAutofit/>
          </a:bodyPr>
          <a:lstStyle>
            <a:lvl1pPr algn="r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AU" noProof="0"/>
          </a:p>
        </p:txBody>
      </p:sp>
      <p:sp>
        <p:nvSpPr>
          <p:cNvPr id="73" name="Subtitle 72">
            <a:extLst>
              <a:ext uri="{FF2B5EF4-FFF2-40B4-BE49-F238E27FC236}">
                <a16:creationId xmlns:a16="http://schemas.microsoft.com/office/drawing/2014/main" id="{2993D1DC-23D0-40CA-BA80-0CCA239AC6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0"/>
            <a:ext cx="5729283" cy="6857998"/>
          </a:xfrm>
          <a:custGeom>
            <a:avLst/>
            <a:gdLst>
              <a:gd name="connsiteX0" fmla="*/ 0 w 5729283"/>
              <a:gd name="connsiteY0" fmla="*/ 0 h 6857998"/>
              <a:gd name="connsiteX1" fmla="*/ 4311112 w 5729283"/>
              <a:gd name="connsiteY1" fmla="*/ 0 h 6857998"/>
              <a:gd name="connsiteX2" fmla="*/ 5729283 w 5729283"/>
              <a:gd name="connsiteY2" fmla="*/ 5316930 h 6857998"/>
              <a:gd name="connsiteX3" fmla="*/ 0 w 5729283"/>
              <a:gd name="connsiteY3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9283" h="6857998">
                <a:moveTo>
                  <a:pt x="0" y="0"/>
                </a:moveTo>
                <a:lnTo>
                  <a:pt x="4311112" y="0"/>
                </a:lnTo>
                <a:lnTo>
                  <a:pt x="5729283" y="5316930"/>
                </a:lnTo>
                <a:lnTo>
                  <a:pt x="0" y="6857998"/>
                </a:lnTo>
                <a:close/>
              </a:path>
            </a:pathLst>
          </a:custGeom>
          <a:solidFill>
            <a:schemeClr val="bg1">
              <a:alpha val="80000"/>
            </a:schemeClr>
          </a:solidFill>
        </p:spPr>
        <p:txBody>
          <a:bodyPr wrap="square" lIns="576000" tIns="2484000" rIns="1404000" anchor="t" anchorCtr="0">
            <a:noAutofit/>
          </a:bodyPr>
          <a:lstStyle>
            <a:lvl1pPr marL="0" indent="0" algn="l">
              <a:spcAft>
                <a:spcPts val="1200"/>
              </a:spcAft>
              <a:buNone/>
              <a:defRPr sz="3800" b="1">
                <a:solidFill>
                  <a:schemeClr val="tx2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sp>
        <p:nvSpPr>
          <p:cNvPr id="137" name="Text Placeholder 135">
            <a:extLst>
              <a:ext uri="{FF2B5EF4-FFF2-40B4-BE49-F238E27FC236}">
                <a16:creationId xmlns:a16="http://schemas.microsoft.com/office/drawing/2014/main" id="{081B6B67-7D18-4A84-A9C8-F8EB715A3FB3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607255" y="616633"/>
            <a:ext cx="1440000" cy="1440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200">
                <a:solidFill>
                  <a:schemeClr val="tx2"/>
                </a:solidFill>
              </a:defRPr>
            </a:lvl1pPr>
            <a:lvl2pPr marL="0" indent="0">
              <a:defRPr sz="200">
                <a:solidFill>
                  <a:schemeClr val="tx2"/>
                </a:solidFill>
              </a:defRPr>
            </a:lvl2pPr>
            <a:lvl3pPr marL="0" indent="0">
              <a:defRPr sz="200">
                <a:solidFill>
                  <a:schemeClr val="tx2"/>
                </a:solidFill>
              </a:defRPr>
            </a:lvl3pPr>
            <a:lvl4pPr>
              <a:defRPr sz="200">
                <a:solidFill>
                  <a:schemeClr val="tx2"/>
                </a:solidFill>
              </a:defRPr>
            </a:lvl4pPr>
            <a:lvl5pPr>
              <a:defRPr sz="200">
                <a:solidFill>
                  <a:schemeClr val="tx2"/>
                </a:solidFill>
              </a:defRPr>
            </a:lvl5pPr>
            <a:lvl6pPr>
              <a:defRPr sz="200">
                <a:solidFill>
                  <a:schemeClr val="tx2"/>
                </a:solidFill>
              </a:defRPr>
            </a:lvl6pPr>
            <a:lvl7pPr>
              <a:defRPr sz="200">
                <a:solidFill>
                  <a:schemeClr val="tx2"/>
                </a:solidFill>
              </a:defRPr>
            </a:lvl7pPr>
            <a:lvl8pPr>
              <a:defRPr sz="200">
                <a:solidFill>
                  <a:schemeClr val="tx2"/>
                </a:solidFill>
              </a:defRPr>
            </a:lvl8pPr>
            <a:lvl9pPr>
              <a:defRPr sz="2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/>
              <a:t>       </a:t>
            </a:r>
          </a:p>
        </p:txBody>
      </p:sp>
      <p:sp>
        <p:nvSpPr>
          <p:cNvPr id="139" name="Text Placeholder 140">
            <a:extLst>
              <a:ext uri="{FF2B5EF4-FFF2-40B4-BE49-F238E27FC236}">
                <a16:creationId xmlns:a16="http://schemas.microsoft.com/office/drawing/2014/main" id="{57544754-61DA-4535-96B6-21D24A6188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0063" y="5265337"/>
            <a:ext cx="3567112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tx2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8" name="Text Placeholder 135">
            <a:extLst>
              <a:ext uri="{FF2B5EF4-FFF2-40B4-BE49-F238E27FC236}">
                <a16:creationId xmlns:a16="http://schemas.microsoft.com/office/drawing/2014/main" id="{08BE5594-C448-4AC9-B08C-E09264A163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7255" y="5209360"/>
            <a:ext cx="288000" cy="108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11443970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-Fluid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890DF213-662F-4F0F-AF3A-12E90D6AB403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4772203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600"/>
              </a:spcAft>
              <a:buNone/>
              <a:defRPr sz="3800" b="1">
                <a:solidFill>
                  <a:schemeClr val="tx2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70" name="Group 4">
            <a:extLst>
              <a:ext uri="{FF2B5EF4-FFF2-40B4-BE49-F238E27FC236}">
                <a16:creationId xmlns:a16="http://schemas.microsoft.com/office/drawing/2014/main" id="{3AFBB0F5-5EB0-405F-9812-3F6111C207C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07255" y="616633"/>
            <a:ext cx="1440000" cy="1443689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72" name="AutoShape 3">
              <a:extLst>
                <a:ext uri="{FF2B5EF4-FFF2-40B4-BE49-F238E27FC236}">
                  <a16:creationId xmlns:a16="http://schemas.microsoft.com/office/drawing/2014/main" id="{EE348DCA-F65E-472C-8E94-01A3FE818B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3" name="Rectangle 5">
              <a:extLst>
                <a:ext uri="{FF2B5EF4-FFF2-40B4-BE49-F238E27FC236}">
                  <a16:creationId xmlns:a16="http://schemas.microsoft.com/office/drawing/2014/main" id="{43ED83A1-CC4D-42EA-8ABE-37ED66A648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6" name="Freeform 6">
              <a:extLst>
                <a:ext uri="{FF2B5EF4-FFF2-40B4-BE49-F238E27FC236}">
                  <a16:creationId xmlns:a16="http://schemas.microsoft.com/office/drawing/2014/main" id="{C14D3AFF-4015-4ADB-AB21-B4EADD0CA3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7" name="Freeform 7">
              <a:extLst>
                <a:ext uri="{FF2B5EF4-FFF2-40B4-BE49-F238E27FC236}">
                  <a16:creationId xmlns:a16="http://schemas.microsoft.com/office/drawing/2014/main" id="{338B28A6-DBB6-499A-9175-D30CDBFB6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B4F42473-3AD2-48CF-9DF2-688A050792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4CFCC169-6EE2-4286-8FE4-D99450A443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0" name="Freeform 10">
              <a:extLst>
                <a:ext uri="{FF2B5EF4-FFF2-40B4-BE49-F238E27FC236}">
                  <a16:creationId xmlns:a16="http://schemas.microsoft.com/office/drawing/2014/main" id="{9D240A6C-65D8-4404-BD21-34BFC830B9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1" name="Freeform 11">
              <a:extLst>
                <a:ext uri="{FF2B5EF4-FFF2-40B4-BE49-F238E27FC236}">
                  <a16:creationId xmlns:a16="http://schemas.microsoft.com/office/drawing/2014/main" id="{D2693798-E801-4A01-899D-3526F4E679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2" name="Freeform 12">
              <a:extLst>
                <a:ext uri="{FF2B5EF4-FFF2-40B4-BE49-F238E27FC236}">
                  <a16:creationId xmlns:a16="http://schemas.microsoft.com/office/drawing/2014/main" id="{285079AC-870B-48A5-93B9-BCEBA2C149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3" name="Freeform 13">
              <a:extLst>
                <a:ext uri="{FF2B5EF4-FFF2-40B4-BE49-F238E27FC236}">
                  <a16:creationId xmlns:a16="http://schemas.microsoft.com/office/drawing/2014/main" id="{999F3F9A-C895-4189-8520-0793CCCD0B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4" name="Freeform 14">
              <a:extLst>
                <a:ext uri="{FF2B5EF4-FFF2-40B4-BE49-F238E27FC236}">
                  <a16:creationId xmlns:a16="http://schemas.microsoft.com/office/drawing/2014/main" id="{5161D696-7B40-4240-8A0E-23B94BADBC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5" name="Freeform 15">
              <a:extLst>
                <a:ext uri="{FF2B5EF4-FFF2-40B4-BE49-F238E27FC236}">
                  <a16:creationId xmlns:a16="http://schemas.microsoft.com/office/drawing/2014/main" id="{4C75893E-D358-44AC-A3CF-2EED9778A4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6" name="Freeform 16">
              <a:extLst>
                <a:ext uri="{FF2B5EF4-FFF2-40B4-BE49-F238E27FC236}">
                  <a16:creationId xmlns:a16="http://schemas.microsoft.com/office/drawing/2014/main" id="{7637E8F0-D81C-476F-8F8E-D9920CB899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7" name="Freeform 17">
              <a:extLst>
                <a:ext uri="{FF2B5EF4-FFF2-40B4-BE49-F238E27FC236}">
                  <a16:creationId xmlns:a16="http://schemas.microsoft.com/office/drawing/2014/main" id="{871A423F-334B-41DD-AB12-69F4222E2B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8" name="Freeform 18">
              <a:extLst>
                <a:ext uri="{FF2B5EF4-FFF2-40B4-BE49-F238E27FC236}">
                  <a16:creationId xmlns:a16="http://schemas.microsoft.com/office/drawing/2014/main" id="{F58C111E-E1E0-495A-B19E-19C23BC04A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9" name="Freeform 19">
              <a:extLst>
                <a:ext uri="{FF2B5EF4-FFF2-40B4-BE49-F238E27FC236}">
                  <a16:creationId xmlns:a16="http://schemas.microsoft.com/office/drawing/2014/main" id="{C13C60D4-33A1-4116-A310-C2D5DDC4EE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0" name="Freeform 20">
              <a:extLst>
                <a:ext uri="{FF2B5EF4-FFF2-40B4-BE49-F238E27FC236}">
                  <a16:creationId xmlns:a16="http://schemas.microsoft.com/office/drawing/2014/main" id="{A48538EB-0D4D-49B9-BDCF-9D922353F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1" name="Rectangle 21">
              <a:extLst>
                <a:ext uri="{FF2B5EF4-FFF2-40B4-BE49-F238E27FC236}">
                  <a16:creationId xmlns:a16="http://schemas.microsoft.com/office/drawing/2014/main" id="{1487FAD7-88D3-4A87-99A7-7B072B555F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2" name="Freeform 22">
              <a:extLst>
                <a:ext uri="{FF2B5EF4-FFF2-40B4-BE49-F238E27FC236}">
                  <a16:creationId xmlns:a16="http://schemas.microsoft.com/office/drawing/2014/main" id="{8914B577-98F3-43EF-BC4A-E7588E200C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3" name="Freeform 23">
              <a:extLst>
                <a:ext uri="{FF2B5EF4-FFF2-40B4-BE49-F238E27FC236}">
                  <a16:creationId xmlns:a16="http://schemas.microsoft.com/office/drawing/2014/main" id="{B5308D54-22FE-4DA7-BC01-ED460072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4" name="Freeform 24">
              <a:extLst>
                <a:ext uri="{FF2B5EF4-FFF2-40B4-BE49-F238E27FC236}">
                  <a16:creationId xmlns:a16="http://schemas.microsoft.com/office/drawing/2014/main" id="{3A60EE4F-D706-499A-8872-B156049D5B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5" name="Freeform 25">
              <a:extLst>
                <a:ext uri="{FF2B5EF4-FFF2-40B4-BE49-F238E27FC236}">
                  <a16:creationId xmlns:a16="http://schemas.microsoft.com/office/drawing/2014/main" id="{3EAF6B99-79B4-43B1-842F-B1AFF0CC1E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6" name="Freeform 26">
              <a:extLst>
                <a:ext uri="{FF2B5EF4-FFF2-40B4-BE49-F238E27FC236}">
                  <a16:creationId xmlns:a16="http://schemas.microsoft.com/office/drawing/2014/main" id="{6C79F926-94C7-4522-9614-397593F62E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7" name="Freeform 27">
              <a:extLst>
                <a:ext uri="{FF2B5EF4-FFF2-40B4-BE49-F238E27FC236}">
                  <a16:creationId xmlns:a16="http://schemas.microsoft.com/office/drawing/2014/main" id="{FDD151CA-6BF4-4036-98ED-05B831B530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8" name="Freeform 28">
              <a:extLst>
                <a:ext uri="{FF2B5EF4-FFF2-40B4-BE49-F238E27FC236}">
                  <a16:creationId xmlns:a16="http://schemas.microsoft.com/office/drawing/2014/main" id="{AB448DEB-E490-4038-8414-1A68B9109C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524059C3-D356-4C34-9C06-DD896588BF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247D07C2-EC7B-4730-92FA-6B8D84B80D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5D6F08FA-2532-4558-9602-AF1744F99F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E685EBE7-869E-41B0-BCD8-FF537CBD5C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3" name="Freeform 34">
              <a:extLst>
                <a:ext uri="{FF2B5EF4-FFF2-40B4-BE49-F238E27FC236}">
                  <a16:creationId xmlns:a16="http://schemas.microsoft.com/office/drawing/2014/main" id="{C3AB8B41-7BD9-44AA-B986-74D53C9AF3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4" name="Freeform 35">
              <a:extLst>
                <a:ext uri="{FF2B5EF4-FFF2-40B4-BE49-F238E27FC236}">
                  <a16:creationId xmlns:a16="http://schemas.microsoft.com/office/drawing/2014/main" id="{EDE8817E-73C2-4561-8428-03CCAFF40C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5" name="Freeform 36">
              <a:extLst>
                <a:ext uri="{FF2B5EF4-FFF2-40B4-BE49-F238E27FC236}">
                  <a16:creationId xmlns:a16="http://schemas.microsoft.com/office/drawing/2014/main" id="{AF8224B5-9A1C-4DFC-9A81-E5FD62FB56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6" name="Freeform 37">
              <a:extLst>
                <a:ext uri="{FF2B5EF4-FFF2-40B4-BE49-F238E27FC236}">
                  <a16:creationId xmlns:a16="http://schemas.microsoft.com/office/drawing/2014/main" id="{1C2A9587-67A6-4716-977B-862BFA82E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7" name="Freeform 38">
              <a:extLst>
                <a:ext uri="{FF2B5EF4-FFF2-40B4-BE49-F238E27FC236}">
                  <a16:creationId xmlns:a16="http://schemas.microsoft.com/office/drawing/2014/main" id="{495A0897-65A5-4410-A4A7-BD794D83C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8" name="Freeform 39">
              <a:extLst>
                <a:ext uri="{FF2B5EF4-FFF2-40B4-BE49-F238E27FC236}">
                  <a16:creationId xmlns:a16="http://schemas.microsoft.com/office/drawing/2014/main" id="{7E97296E-EB49-46E9-8E93-4AA5F3E541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9" name="Freeform 40">
              <a:extLst>
                <a:ext uri="{FF2B5EF4-FFF2-40B4-BE49-F238E27FC236}">
                  <a16:creationId xmlns:a16="http://schemas.microsoft.com/office/drawing/2014/main" id="{2F3461FC-DD4F-4CA4-B2A8-7F4F566F61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0" name="Freeform 41">
              <a:extLst>
                <a:ext uri="{FF2B5EF4-FFF2-40B4-BE49-F238E27FC236}">
                  <a16:creationId xmlns:a16="http://schemas.microsoft.com/office/drawing/2014/main" id="{8908A0F4-A93F-4BE5-8463-B36A8039B5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1" name="Freeform 42">
              <a:extLst>
                <a:ext uri="{FF2B5EF4-FFF2-40B4-BE49-F238E27FC236}">
                  <a16:creationId xmlns:a16="http://schemas.microsoft.com/office/drawing/2014/main" id="{24D30A92-E7FF-424A-B0A9-AC7FE32E77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2" name="Freeform 43">
              <a:extLst>
                <a:ext uri="{FF2B5EF4-FFF2-40B4-BE49-F238E27FC236}">
                  <a16:creationId xmlns:a16="http://schemas.microsoft.com/office/drawing/2014/main" id="{B2A95380-ABEE-40CA-BBE5-1E3411D8CD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3" name="Freeform 44">
              <a:extLst>
                <a:ext uri="{FF2B5EF4-FFF2-40B4-BE49-F238E27FC236}">
                  <a16:creationId xmlns:a16="http://schemas.microsoft.com/office/drawing/2014/main" id="{25364CF1-47E1-42AA-B408-1241E63E8C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4" name="Freeform 45">
              <a:extLst>
                <a:ext uri="{FF2B5EF4-FFF2-40B4-BE49-F238E27FC236}">
                  <a16:creationId xmlns:a16="http://schemas.microsoft.com/office/drawing/2014/main" id="{722A9A6F-E73A-4E34-A53F-A559E043C3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5" name="Freeform 46">
              <a:extLst>
                <a:ext uri="{FF2B5EF4-FFF2-40B4-BE49-F238E27FC236}">
                  <a16:creationId xmlns:a16="http://schemas.microsoft.com/office/drawing/2014/main" id="{7DC776F1-D1BF-4756-9B11-A3922DD28A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6" name="Freeform 47">
              <a:extLst>
                <a:ext uri="{FF2B5EF4-FFF2-40B4-BE49-F238E27FC236}">
                  <a16:creationId xmlns:a16="http://schemas.microsoft.com/office/drawing/2014/main" id="{F702349C-C6E4-46A5-8802-BB88DD4BE2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7" name="Freeform 48">
              <a:extLst>
                <a:ext uri="{FF2B5EF4-FFF2-40B4-BE49-F238E27FC236}">
                  <a16:creationId xmlns:a16="http://schemas.microsoft.com/office/drawing/2014/main" id="{346BC6D5-9E5A-4B92-9611-F9D07EF485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8" name="Freeform 49">
              <a:extLst>
                <a:ext uri="{FF2B5EF4-FFF2-40B4-BE49-F238E27FC236}">
                  <a16:creationId xmlns:a16="http://schemas.microsoft.com/office/drawing/2014/main" id="{2A9DF814-73D8-4894-8B96-23B40E6E90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9" name="Freeform 50">
              <a:extLst>
                <a:ext uri="{FF2B5EF4-FFF2-40B4-BE49-F238E27FC236}">
                  <a16:creationId xmlns:a16="http://schemas.microsoft.com/office/drawing/2014/main" id="{58C1703B-88EC-4C9F-B827-837D126B61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0" name="Freeform 51">
              <a:extLst>
                <a:ext uri="{FF2B5EF4-FFF2-40B4-BE49-F238E27FC236}">
                  <a16:creationId xmlns:a16="http://schemas.microsoft.com/office/drawing/2014/main" id="{7589E396-ADCF-4596-8DE4-4379AFCE7E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1" name="Freeform 52">
              <a:extLst>
                <a:ext uri="{FF2B5EF4-FFF2-40B4-BE49-F238E27FC236}">
                  <a16:creationId xmlns:a16="http://schemas.microsoft.com/office/drawing/2014/main" id="{C49FDA79-CF20-4CA4-9EC3-273E88B10C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2" name="Freeform 53">
              <a:extLst>
                <a:ext uri="{FF2B5EF4-FFF2-40B4-BE49-F238E27FC236}">
                  <a16:creationId xmlns:a16="http://schemas.microsoft.com/office/drawing/2014/main" id="{EAF66CB7-8F32-4F0C-B5A2-11A6143DA7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3" name="Freeform 54">
              <a:extLst>
                <a:ext uri="{FF2B5EF4-FFF2-40B4-BE49-F238E27FC236}">
                  <a16:creationId xmlns:a16="http://schemas.microsoft.com/office/drawing/2014/main" id="{DD4F44F0-927E-4351-9C37-2EE63B71F0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4" name="Freeform 55">
              <a:extLst>
                <a:ext uri="{FF2B5EF4-FFF2-40B4-BE49-F238E27FC236}">
                  <a16:creationId xmlns:a16="http://schemas.microsoft.com/office/drawing/2014/main" id="{92AC303A-678D-4707-A16F-2DA1A07D9D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5" name="Freeform 56">
              <a:extLst>
                <a:ext uri="{FF2B5EF4-FFF2-40B4-BE49-F238E27FC236}">
                  <a16:creationId xmlns:a16="http://schemas.microsoft.com/office/drawing/2014/main" id="{4BCFC9F6-3BBE-4394-851E-3738C7D6EB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6" name="Freeform 57">
              <a:extLst>
                <a:ext uri="{FF2B5EF4-FFF2-40B4-BE49-F238E27FC236}">
                  <a16:creationId xmlns:a16="http://schemas.microsoft.com/office/drawing/2014/main" id="{D4997C90-4986-45C1-9DAC-A5D26B02F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7" name="Freeform 58">
              <a:extLst>
                <a:ext uri="{FF2B5EF4-FFF2-40B4-BE49-F238E27FC236}">
                  <a16:creationId xmlns:a16="http://schemas.microsoft.com/office/drawing/2014/main" id="{ACC13E25-4EE3-4A63-B0AF-2162BB78EC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8" name="Freeform 59">
              <a:extLst>
                <a:ext uri="{FF2B5EF4-FFF2-40B4-BE49-F238E27FC236}">
                  <a16:creationId xmlns:a16="http://schemas.microsoft.com/office/drawing/2014/main" id="{87AA0A80-577E-43A6-B738-0BAFE7F7B4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9" name="Freeform 60">
              <a:extLst>
                <a:ext uri="{FF2B5EF4-FFF2-40B4-BE49-F238E27FC236}">
                  <a16:creationId xmlns:a16="http://schemas.microsoft.com/office/drawing/2014/main" id="{3DBFF628-46A4-41BD-9FA9-3D4418E866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0" name="Freeform 61">
              <a:extLst>
                <a:ext uri="{FF2B5EF4-FFF2-40B4-BE49-F238E27FC236}">
                  <a16:creationId xmlns:a16="http://schemas.microsoft.com/office/drawing/2014/main" id="{D6413240-42B4-45DB-BBA2-56A1CDBD3C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1" name="Freeform 62">
              <a:extLst>
                <a:ext uri="{FF2B5EF4-FFF2-40B4-BE49-F238E27FC236}">
                  <a16:creationId xmlns:a16="http://schemas.microsoft.com/office/drawing/2014/main" id="{8AAB2B20-3978-4858-9836-C1351201A6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</p:grp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86F4D0A5-6CC7-400E-9C3C-0694666F6F88}"/>
              </a:ext>
            </a:extLst>
          </p:cNvPr>
          <p:cNvSpPr/>
          <p:nvPr userDrawn="1"/>
        </p:nvSpPr>
        <p:spPr>
          <a:xfrm>
            <a:off x="6272240" y="1030147"/>
            <a:ext cx="5919758" cy="5825419"/>
          </a:xfrm>
          <a:custGeom>
            <a:avLst/>
            <a:gdLst>
              <a:gd name="connsiteX0" fmla="*/ 5919758 w 5919758"/>
              <a:gd name="connsiteY0" fmla="*/ 0 h 5825419"/>
              <a:gd name="connsiteX1" fmla="*/ 5919758 w 5919758"/>
              <a:gd name="connsiteY1" fmla="*/ 5825419 h 5825419"/>
              <a:gd name="connsiteX2" fmla="*/ 1120273 w 5919758"/>
              <a:gd name="connsiteY2" fmla="*/ 5825419 h 5825419"/>
              <a:gd name="connsiteX3" fmla="*/ 0 w 5919758"/>
              <a:gd name="connsiteY3" fmla="*/ 1588036 h 582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9758" h="5825419">
                <a:moveTo>
                  <a:pt x="5919758" y="0"/>
                </a:moveTo>
                <a:lnTo>
                  <a:pt x="5919758" y="5825419"/>
                </a:lnTo>
                <a:lnTo>
                  <a:pt x="1120273" y="5825419"/>
                </a:lnTo>
                <a:lnTo>
                  <a:pt x="0" y="1588036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59425" t="-59426" r="-32309" b="-3230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3" name="Text Placeholder 140">
            <a:extLst>
              <a:ext uri="{FF2B5EF4-FFF2-40B4-BE49-F238E27FC236}">
                <a16:creationId xmlns:a16="http://schemas.microsoft.com/office/drawing/2014/main" id="{C8E1928D-065A-4AB1-9DF2-3C1374F8D1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2" y="5394937"/>
            <a:ext cx="4772203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tx2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66" name="Text Placeholder 135">
            <a:extLst>
              <a:ext uri="{FF2B5EF4-FFF2-40B4-BE49-F238E27FC236}">
                <a16:creationId xmlns:a16="http://schemas.microsoft.com/office/drawing/2014/main" id="{E11A1BDE-E875-46F4-AFCD-40A30102811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39607591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-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890DF213-662F-4F0F-AF3A-12E90D6AB403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4772203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600"/>
              </a:spcAft>
              <a:buNone/>
              <a:defRPr sz="3800" b="1">
                <a:solidFill>
                  <a:schemeClr val="tx2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70" name="Group 4">
            <a:extLst>
              <a:ext uri="{FF2B5EF4-FFF2-40B4-BE49-F238E27FC236}">
                <a16:creationId xmlns:a16="http://schemas.microsoft.com/office/drawing/2014/main" id="{3AFBB0F5-5EB0-405F-9812-3F6111C207C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07255" y="616633"/>
            <a:ext cx="1440000" cy="1443689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72" name="AutoShape 3">
              <a:extLst>
                <a:ext uri="{FF2B5EF4-FFF2-40B4-BE49-F238E27FC236}">
                  <a16:creationId xmlns:a16="http://schemas.microsoft.com/office/drawing/2014/main" id="{EE348DCA-F65E-472C-8E94-01A3FE818B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3" name="Rectangle 5">
              <a:extLst>
                <a:ext uri="{FF2B5EF4-FFF2-40B4-BE49-F238E27FC236}">
                  <a16:creationId xmlns:a16="http://schemas.microsoft.com/office/drawing/2014/main" id="{43ED83A1-CC4D-42EA-8ABE-37ED66A648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6" name="Freeform 6">
              <a:extLst>
                <a:ext uri="{FF2B5EF4-FFF2-40B4-BE49-F238E27FC236}">
                  <a16:creationId xmlns:a16="http://schemas.microsoft.com/office/drawing/2014/main" id="{C14D3AFF-4015-4ADB-AB21-B4EADD0CA3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7" name="Freeform 7">
              <a:extLst>
                <a:ext uri="{FF2B5EF4-FFF2-40B4-BE49-F238E27FC236}">
                  <a16:creationId xmlns:a16="http://schemas.microsoft.com/office/drawing/2014/main" id="{338B28A6-DBB6-499A-9175-D30CDBFB6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B4F42473-3AD2-48CF-9DF2-688A050792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4CFCC169-6EE2-4286-8FE4-D99450A443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0" name="Freeform 10">
              <a:extLst>
                <a:ext uri="{FF2B5EF4-FFF2-40B4-BE49-F238E27FC236}">
                  <a16:creationId xmlns:a16="http://schemas.microsoft.com/office/drawing/2014/main" id="{9D240A6C-65D8-4404-BD21-34BFC830B9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1" name="Freeform 11">
              <a:extLst>
                <a:ext uri="{FF2B5EF4-FFF2-40B4-BE49-F238E27FC236}">
                  <a16:creationId xmlns:a16="http://schemas.microsoft.com/office/drawing/2014/main" id="{D2693798-E801-4A01-899D-3526F4E679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2" name="Freeform 12">
              <a:extLst>
                <a:ext uri="{FF2B5EF4-FFF2-40B4-BE49-F238E27FC236}">
                  <a16:creationId xmlns:a16="http://schemas.microsoft.com/office/drawing/2014/main" id="{285079AC-870B-48A5-93B9-BCEBA2C149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3" name="Freeform 13">
              <a:extLst>
                <a:ext uri="{FF2B5EF4-FFF2-40B4-BE49-F238E27FC236}">
                  <a16:creationId xmlns:a16="http://schemas.microsoft.com/office/drawing/2014/main" id="{999F3F9A-C895-4189-8520-0793CCCD0B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4" name="Freeform 14">
              <a:extLst>
                <a:ext uri="{FF2B5EF4-FFF2-40B4-BE49-F238E27FC236}">
                  <a16:creationId xmlns:a16="http://schemas.microsoft.com/office/drawing/2014/main" id="{5161D696-7B40-4240-8A0E-23B94BADBC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5" name="Freeform 15">
              <a:extLst>
                <a:ext uri="{FF2B5EF4-FFF2-40B4-BE49-F238E27FC236}">
                  <a16:creationId xmlns:a16="http://schemas.microsoft.com/office/drawing/2014/main" id="{4C75893E-D358-44AC-A3CF-2EED9778A4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6" name="Freeform 16">
              <a:extLst>
                <a:ext uri="{FF2B5EF4-FFF2-40B4-BE49-F238E27FC236}">
                  <a16:creationId xmlns:a16="http://schemas.microsoft.com/office/drawing/2014/main" id="{7637E8F0-D81C-476F-8F8E-D9920CB899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7" name="Freeform 17">
              <a:extLst>
                <a:ext uri="{FF2B5EF4-FFF2-40B4-BE49-F238E27FC236}">
                  <a16:creationId xmlns:a16="http://schemas.microsoft.com/office/drawing/2014/main" id="{871A423F-334B-41DD-AB12-69F4222E2B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8" name="Freeform 18">
              <a:extLst>
                <a:ext uri="{FF2B5EF4-FFF2-40B4-BE49-F238E27FC236}">
                  <a16:creationId xmlns:a16="http://schemas.microsoft.com/office/drawing/2014/main" id="{F58C111E-E1E0-495A-B19E-19C23BC04A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9" name="Freeform 19">
              <a:extLst>
                <a:ext uri="{FF2B5EF4-FFF2-40B4-BE49-F238E27FC236}">
                  <a16:creationId xmlns:a16="http://schemas.microsoft.com/office/drawing/2014/main" id="{C13C60D4-33A1-4116-A310-C2D5DDC4EE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0" name="Freeform 20">
              <a:extLst>
                <a:ext uri="{FF2B5EF4-FFF2-40B4-BE49-F238E27FC236}">
                  <a16:creationId xmlns:a16="http://schemas.microsoft.com/office/drawing/2014/main" id="{A48538EB-0D4D-49B9-BDCF-9D922353F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1" name="Rectangle 21">
              <a:extLst>
                <a:ext uri="{FF2B5EF4-FFF2-40B4-BE49-F238E27FC236}">
                  <a16:creationId xmlns:a16="http://schemas.microsoft.com/office/drawing/2014/main" id="{1487FAD7-88D3-4A87-99A7-7B072B555F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2" name="Freeform 22">
              <a:extLst>
                <a:ext uri="{FF2B5EF4-FFF2-40B4-BE49-F238E27FC236}">
                  <a16:creationId xmlns:a16="http://schemas.microsoft.com/office/drawing/2014/main" id="{8914B577-98F3-43EF-BC4A-E7588E200C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3" name="Freeform 23">
              <a:extLst>
                <a:ext uri="{FF2B5EF4-FFF2-40B4-BE49-F238E27FC236}">
                  <a16:creationId xmlns:a16="http://schemas.microsoft.com/office/drawing/2014/main" id="{B5308D54-22FE-4DA7-BC01-ED460072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4" name="Freeform 24">
              <a:extLst>
                <a:ext uri="{FF2B5EF4-FFF2-40B4-BE49-F238E27FC236}">
                  <a16:creationId xmlns:a16="http://schemas.microsoft.com/office/drawing/2014/main" id="{3A60EE4F-D706-499A-8872-B156049D5B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5" name="Freeform 25">
              <a:extLst>
                <a:ext uri="{FF2B5EF4-FFF2-40B4-BE49-F238E27FC236}">
                  <a16:creationId xmlns:a16="http://schemas.microsoft.com/office/drawing/2014/main" id="{3EAF6B99-79B4-43B1-842F-B1AFF0CC1E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6" name="Freeform 26">
              <a:extLst>
                <a:ext uri="{FF2B5EF4-FFF2-40B4-BE49-F238E27FC236}">
                  <a16:creationId xmlns:a16="http://schemas.microsoft.com/office/drawing/2014/main" id="{6C79F926-94C7-4522-9614-397593F62E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7" name="Freeform 27">
              <a:extLst>
                <a:ext uri="{FF2B5EF4-FFF2-40B4-BE49-F238E27FC236}">
                  <a16:creationId xmlns:a16="http://schemas.microsoft.com/office/drawing/2014/main" id="{FDD151CA-6BF4-4036-98ED-05B831B530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8" name="Freeform 28">
              <a:extLst>
                <a:ext uri="{FF2B5EF4-FFF2-40B4-BE49-F238E27FC236}">
                  <a16:creationId xmlns:a16="http://schemas.microsoft.com/office/drawing/2014/main" id="{AB448DEB-E490-4038-8414-1A68B9109C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524059C3-D356-4C34-9C06-DD896588BF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247D07C2-EC7B-4730-92FA-6B8D84B80D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5D6F08FA-2532-4558-9602-AF1744F99F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E685EBE7-869E-41B0-BCD8-FF537CBD5C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3" name="Freeform 34">
              <a:extLst>
                <a:ext uri="{FF2B5EF4-FFF2-40B4-BE49-F238E27FC236}">
                  <a16:creationId xmlns:a16="http://schemas.microsoft.com/office/drawing/2014/main" id="{C3AB8B41-7BD9-44AA-B986-74D53C9AF3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4" name="Freeform 35">
              <a:extLst>
                <a:ext uri="{FF2B5EF4-FFF2-40B4-BE49-F238E27FC236}">
                  <a16:creationId xmlns:a16="http://schemas.microsoft.com/office/drawing/2014/main" id="{EDE8817E-73C2-4561-8428-03CCAFF40C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5" name="Freeform 36">
              <a:extLst>
                <a:ext uri="{FF2B5EF4-FFF2-40B4-BE49-F238E27FC236}">
                  <a16:creationId xmlns:a16="http://schemas.microsoft.com/office/drawing/2014/main" id="{AF8224B5-9A1C-4DFC-9A81-E5FD62FB56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6" name="Freeform 37">
              <a:extLst>
                <a:ext uri="{FF2B5EF4-FFF2-40B4-BE49-F238E27FC236}">
                  <a16:creationId xmlns:a16="http://schemas.microsoft.com/office/drawing/2014/main" id="{1C2A9587-67A6-4716-977B-862BFA82E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7" name="Freeform 38">
              <a:extLst>
                <a:ext uri="{FF2B5EF4-FFF2-40B4-BE49-F238E27FC236}">
                  <a16:creationId xmlns:a16="http://schemas.microsoft.com/office/drawing/2014/main" id="{495A0897-65A5-4410-A4A7-BD794D83C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8" name="Freeform 39">
              <a:extLst>
                <a:ext uri="{FF2B5EF4-FFF2-40B4-BE49-F238E27FC236}">
                  <a16:creationId xmlns:a16="http://schemas.microsoft.com/office/drawing/2014/main" id="{7E97296E-EB49-46E9-8E93-4AA5F3E541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9" name="Freeform 40">
              <a:extLst>
                <a:ext uri="{FF2B5EF4-FFF2-40B4-BE49-F238E27FC236}">
                  <a16:creationId xmlns:a16="http://schemas.microsoft.com/office/drawing/2014/main" id="{2F3461FC-DD4F-4CA4-B2A8-7F4F566F61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0" name="Freeform 41">
              <a:extLst>
                <a:ext uri="{FF2B5EF4-FFF2-40B4-BE49-F238E27FC236}">
                  <a16:creationId xmlns:a16="http://schemas.microsoft.com/office/drawing/2014/main" id="{8908A0F4-A93F-4BE5-8463-B36A8039B5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1" name="Freeform 42">
              <a:extLst>
                <a:ext uri="{FF2B5EF4-FFF2-40B4-BE49-F238E27FC236}">
                  <a16:creationId xmlns:a16="http://schemas.microsoft.com/office/drawing/2014/main" id="{24D30A92-E7FF-424A-B0A9-AC7FE32E77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2" name="Freeform 43">
              <a:extLst>
                <a:ext uri="{FF2B5EF4-FFF2-40B4-BE49-F238E27FC236}">
                  <a16:creationId xmlns:a16="http://schemas.microsoft.com/office/drawing/2014/main" id="{B2A95380-ABEE-40CA-BBE5-1E3411D8CD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3" name="Freeform 44">
              <a:extLst>
                <a:ext uri="{FF2B5EF4-FFF2-40B4-BE49-F238E27FC236}">
                  <a16:creationId xmlns:a16="http://schemas.microsoft.com/office/drawing/2014/main" id="{25364CF1-47E1-42AA-B408-1241E63E8C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4" name="Freeform 45">
              <a:extLst>
                <a:ext uri="{FF2B5EF4-FFF2-40B4-BE49-F238E27FC236}">
                  <a16:creationId xmlns:a16="http://schemas.microsoft.com/office/drawing/2014/main" id="{722A9A6F-E73A-4E34-A53F-A559E043C3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5" name="Freeform 46">
              <a:extLst>
                <a:ext uri="{FF2B5EF4-FFF2-40B4-BE49-F238E27FC236}">
                  <a16:creationId xmlns:a16="http://schemas.microsoft.com/office/drawing/2014/main" id="{7DC776F1-D1BF-4756-9B11-A3922DD28A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6" name="Freeform 47">
              <a:extLst>
                <a:ext uri="{FF2B5EF4-FFF2-40B4-BE49-F238E27FC236}">
                  <a16:creationId xmlns:a16="http://schemas.microsoft.com/office/drawing/2014/main" id="{F702349C-C6E4-46A5-8802-BB88DD4BE2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7" name="Freeform 48">
              <a:extLst>
                <a:ext uri="{FF2B5EF4-FFF2-40B4-BE49-F238E27FC236}">
                  <a16:creationId xmlns:a16="http://schemas.microsoft.com/office/drawing/2014/main" id="{346BC6D5-9E5A-4B92-9611-F9D07EF485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8" name="Freeform 49">
              <a:extLst>
                <a:ext uri="{FF2B5EF4-FFF2-40B4-BE49-F238E27FC236}">
                  <a16:creationId xmlns:a16="http://schemas.microsoft.com/office/drawing/2014/main" id="{2A9DF814-73D8-4894-8B96-23B40E6E90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9" name="Freeform 50">
              <a:extLst>
                <a:ext uri="{FF2B5EF4-FFF2-40B4-BE49-F238E27FC236}">
                  <a16:creationId xmlns:a16="http://schemas.microsoft.com/office/drawing/2014/main" id="{58C1703B-88EC-4C9F-B827-837D126B61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0" name="Freeform 51">
              <a:extLst>
                <a:ext uri="{FF2B5EF4-FFF2-40B4-BE49-F238E27FC236}">
                  <a16:creationId xmlns:a16="http://schemas.microsoft.com/office/drawing/2014/main" id="{7589E396-ADCF-4596-8DE4-4379AFCE7E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1" name="Freeform 52">
              <a:extLst>
                <a:ext uri="{FF2B5EF4-FFF2-40B4-BE49-F238E27FC236}">
                  <a16:creationId xmlns:a16="http://schemas.microsoft.com/office/drawing/2014/main" id="{C49FDA79-CF20-4CA4-9EC3-273E88B10C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2" name="Freeform 53">
              <a:extLst>
                <a:ext uri="{FF2B5EF4-FFF2-40B4-BE49-F238E27FC236}">
                  <a16:creationId xmlns:a16="http://schemas.microsoft.com/office/drawing/2014/main" id="{EAF66CB7-8F32-4F0C-B5A2-11A6143DA7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3" name="Freeform 54">
              <a:extLst>
                <a:ext uri="{FF2B5EF4-FFF2-40B4-BE49-F238E27FC236}">
                  <a16:creationId xmlns:a16="http://schemas.microsoft.com/office/drawing/2014/main" id="{DD4F44F0-927E-4351-9C37-2EE63B71F0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4" name="Freeform 55">
              <a:extLst>
                <a:ext uri="{FF2B5EF4-FFF2-40B4-BE49-F238E27FC236}">
                  <a16:creationId xmlns:a16="http://schemas.microsoft.com/office/drawing/2014/main" id="{92AC303A-678D-4707-A16F-2DA1A07D9D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5" name="Freeform 56">
              <a:extLst>
                <a:ext uri="{FF2B5EF4-FFF2-40B4-BE49-F238E27FC236}">
                  <a16:creationId xmlns:a16="http://schemas.microsoft.com/office/drawing/2014/main" id="{4BCFC9F6-3BBE-4394-851E-3738C7D6EB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6" name="Freeform 57">
              <a:extLst>
                <a:ext uri="{FF2B5EF4-FFF2-40B4-BE49-F238E27FC236}">
                  <a16:creationId xmlns:a16="http://schemas.microsoft.com/office/drawing/2014/main" id="{D4997C90-4986-45C1-9DAC-A5D26B02F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7" name="Freeform 58">
              <a:extLst>
                <a:ext uri="{FF2B5EF4-FFF2-40B4-BE49-F238E27FC236}">
                  <a16:creationId xmlns:a16="http://schemas.microsoft.com/office/drawing/2014/main" id="{ACC13E25-4EE3-4A63-B0AF-2162BB78EC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8" name="Freeform 59">
              <a:extLst>
                <a:ext uri="{FF2B5EF4-FFF2-40B4-BE49-F238E27FC236}">
                  <a16:creationId xmlns:a16="http://schemas.microsoft.com/office/drawing/2014/main" id="{87AA0A80-577E-43A6-B738-0BAFE7F7B4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9" name="Freeform 60">
              <a:extLst>
                <a:ext uri="{FF2B5EF4-FFF2-40B4-BE49-F238E27FC236}">
                  <a16:creationId xmlns:a16="http://schemas.microsoft.com/office/drawing/2014/main" id="{3DBFF628-46A4-41BD-9FA9-3D4418E866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0" name="Freeform 61">
              <a:extLst>
                <a:ext uri="{FF2B5EF4-FFF2-40B4-BE49-F238E27FC236}">
                  <a16:creationId xmlns:a16="http://schemas.microsoft.com/office/drawing/2014/main" id="{D6413240-42B4-45DB-BBA2-56A1CDBD3C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1" name="Freeform 62">
              <a:extLst>
                <a:ext uri="{FF2B5EF4-FFF2-40B4-BE49-F238E27FC236}">
                  <a16:creationId xmlns:a16="http://schemas.microsoft.com/office/drawing/2014/main" id="{8AAB2B20-3978-4858-9836-C1351201A6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</p:grp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44E114E6-BD85-4C72-BAB6-6A2A343DA8D5}"/>
              </a:ext>
            </a:extLst>
          </p:cNvPr>
          <p:cNvSpPr/>
          <p:nvPr userDrawn="1"/>
        </p:nvSpPr>
        <p:spPr>
          <a:xfrm>
            <a:off x="6272240" y="1030147"/>
            <a:ext cx="5919758" cy="5825419"/>
          </a:xfrm>
          <a:custGeom>
            <a:avLst/>
            <a:gdLst>
              <a:gd name="connsiteX0" fmla="*/ 5919758 w 5919758"/>
              <a:gd name="connsiteY0" fmla="*/ 0 h 5825419"/>
              <a:gd name="connsiteX1" fmla="*/ 5919758 w 5919758"/>
              <a:gd name="connsiteY1" fmla="*/ 5825419 h 5825419"/>
              <a:gd name="connsiteX2" fmla="*/ 1120273 w 5919758"/>
              <a:gd name="connsiteY2" fmla="*/ 5825419 h 5825419"/>
              <a:gd name="connsiteX3" fmla="*/ 0 w 5919758"/>
              <a:gd name="connsiteY3" fmla="*/ 1588036 h 582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9758" h="5825419">
                <a:moveTo>
                  <a:pt x="5919758" y="0"/>
                </a:moveTo>
                <a:lnTo>
                  <a:pt x="5919758" y="5825419"/>
                </a:lnTo>
                <a:lnTo>
                  <a:pt x="1120273" y="5825419"/>
                </a:lnTo>
                <a:lnTo>
                  <a:pt x="0" y="1588036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32409" t="-42275" r="-52944" b="-4307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3" name="Text Placeholder 140">
            <a:extLst>
              <a:ext uri="{FF2B5EF4-FFF2-40B4-BE49-F238E27FC236}">
                <a16:creationId xmlns:a16="http://schemas.microsoft.com/office/drawing/2014/main" id="{3156ADEC-0272-4274-9765-6F13B085BB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2" y="5394937"/>
            <a:ext cx="4772203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tx2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66" name="Text Placeholder 135">
            <a:extLst>
              <a:ext uri="{FF2B5EF4-FFF2-40B4-BE49-F238E27FC236}">
                <a16:creationId xmlns:a16="http://schemas.microsoft.com/office/drawing/2014/main" id="{13892CA3-1F3C-40B3-9F82-3B2099571F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25014751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-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890DF213-662F-4F0F-AF3A-12E90D6AB403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4772203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600"/>
              </a:spcAft>
              <a:buNone/>
              <a:defRPr sz="3800" b="1">
                <a:solidFill>
                  <a:schemeClr val="tx2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70" name="Group 4">
            <a:extLst>
              <a:ext uri="{FF2B5EF4-FFF2-40B4-BE49-F238E27FC236}">
                <a16:creationId xmlns:a16="http://schemas.microsoft.com/office/drawing/2014/main" id="{3AFBB0F5-5EB0-405F-9812-3F6111C207C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07255" y="616633"/>
            <a:ext cx="1440000" cy="1443689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72" name="AutoShape 3">
              <a:extLst>
                <a:ext uri="{FF2B5EF4-FFF2-40B4-BE49-F238E27FC236}">
                  <a16:creationId xmlns:a16="http://schemas.microsoft.com/office/drawing/2014/main" id="{EE348DCA-F65E-472C-8E94-01A3FE818B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3" name="Rectangle 5">
              <a:extLst>
                <a:ext uri="{FF2B5EF4-FFF2-40B4-BE49-F238E27FC236}">
                  <a16:creationId xmlns:a16="http://schemas.microsoft.com/office/drawing/2014/main" id="{43ED83A1-CC4D-42EA-8ABE-37ED66A648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6" name="Freeform 6">
              <a:extLst>
                <a:ext uri="{FF2B5EF4-FFF2-40B4-BE49-F238E27FC236}">
                  <a16:creationId xmlns:a16="http://schemas.microsoft.com/office/drawing/2014/main" id="{C14D3AFF-4015-4ADB-AB21-B4EADD0CA3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7" name="Freeform 7">
              <a:extLst>
                <a:ext uri="{FF2B5EF4-FFF2-40B4-BE49-F238E27FC236}">
                  <a16:creationId xmlns:a16="http://schemas.microsoft.com/office/drawing/2014/main" id="{338B28A6-DBB6-499A-9175-D30CDBFB6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B4F42473-3AD2-48CF-9DF2-688A050792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4CFCC169-6EE2-4286-8FE4-D99450A443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0" name="Freeform 10">
              <a:extLst>
                <a:ext uri="{FF2B5EF4-FFF2-40B4-BE49-F238E27FC236}">
                  <a16:creationId xmlns:a16="http://schemas.microsoft.com/office/drawing/2014/main" id="{9D240A6C-65D8-4404-BD21-34BFC830B9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1" name="Freeform 11">
              <a:extLst>
                <a:ext uri="{FF2B5EF4-FFF2-40B4-BE49-F238E27FC236}">
                  <a16:creationId xmlns:a16="http://schemas.microsoft.com/office/drawing/2014/main" id="{D2693798-E801-4A01-899D-3526F4E679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2" name="Freeform 12">
              <a:extLst>
                <a:ext uri="{FF2B5EF4-FFF2-40B4-BE49-F238E27FC236}">
                  <a16:creationId xmlns:a16="http://schemas.microsoft.com/office/drawing/2014/main" id="{285079AC-870B-48A5-93B9-BCEBA2C149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3" name="Freeform 13">
              <a:extLst>
                <a:ext uri="{FF2B5EF4-FFF2-40B4-BE49-F238E27FC236}">
                  <a16:creationId xmlns:a16="http://schemas.microsoft.com/office/drawing/2014/main" id="{999F3F9A-C895-4189-8520-0793CCCD0B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4" name="Freeform 14">
              <a:extLst>
                <a:ext uri="{FF2B5EF4-FFF2-40B4-BE49-F238E27FC236}">
                  <a16:creationId xmlns:a16="http://schemas.microsoft.com/office/drawing/2014/main" id="{5161D696-7B40-4240-8A0E-23B94BADBC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5" name="Freeform 15">
              <a:extLst>
                <a:ext uri="{FF2B5EF4-FFF2-40B4-BE49-F238E27FC236}">
                  <a16:creationId xmlns:a16="http://schemas.microsoft.com/office/drawing/2014/main" id="{4C75893E-D358-44AC-A3CF-2EED9778A4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6" name="Freeform 16">
              <a:extLst>
                <a:ext uri="{FF2B5EF4-FFF2-40B4-BE49-F238E27FC236}">
                  <a16:creationId xmlns:a16="http://schemas.microsoft.com/office/drawing/2014/main" id="{7637E8F0-D81C-476F-8F8E-D9920CB899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7" name="Freeform 17">
              <a:extLst>
                <a:ext uri="{FF2B5EF4-FFF2-40B4-BE49-F238E27FC236}">
                  <a16:creationId xmlns:a16="http://schemas.microsoft.com/office/drawing/2014/main" id="{871A423F-334B-41DD-AB12-69F4222E2B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8" name="Freeform 18">
              <a:extLst>
                <a:ext uri="{FF2B5EF4-FFF2-40B4-BE49-F238E27FC236}">
                  <a16:creationId xmlns:a16="http://schemas.microsoft.com/office/drawing/2014/main" id="{F58C111E-E1E0-495A-B19E-19C23BC04A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9" name="Freeform 19">
              <a:extLst>
                <a:ext uri="{FF2B5EF4-FFF2-40B4-BE49-F238E27FC236}">
                  <a16:creationId xmlns:a16="http://schemas.microsoft.com/office/drawing/2014/main" id="{C13C60D4-33A1-4116-A310-C2D5DDC4EE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0" name="Freeform 20">
              <a:extLst>
                <a:ext uri="{FF2B5EF4-FFF2-40B4-BE49-F238E27FC236}">
                  <a16:creationId xmlns:a16="http://schemas.microsoft.com/office/drawing/2014/main" id="{A48538EB-0D4D-49B9-BDCF-9D922353F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1" name="Rectangle 21">
              <a:extLst>
                <a:ext uri="{FF2B5EF4-FFF2-40B4-BE49-F238E27FC236}">
                  <a16:creationId xmlns:a16="http://schemas.microsoft.com/office/drawing/2014/main" id="{1487FAD7-88D3-4A87-99A7-7B072B555F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2" name="Freeform 22">
              <a:extLst>
                <a:ext uri="{FF2B5EF4-FFF2-40B4-BE49-F238E27FC236}">
                  <a16:creationId xmlns:a16="http://schemas.microsoft.com/office/drawing/2014/main" id="{8914B577-98F3-43EF-BC4A-E7588E200C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3" name="Freeform 23">
              <a:extLst>
                <a:ext uri="{FF2B5EF4-FFF2-40B4-BE49-F238E27FC236}">
                  <a16:creationId xmlns:a16="http://schemas.microsoft.com/office/drawing/2014/main" id="{B5308D54-22FE-4DA7-BC01-ED460072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4" name="Freeform 24">
              <a:extLst>
                <a:ext uri="{FF2B5EF4-FFF2-40B4-BE49-F238E27FC236}">
                  <a16:creationId xmlns:a16="http://schemas.microsoft.com/office/drawing/2014/main" id="{3A60EE4F-D706-499A-8872-B156049D5B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5" name="Freeform 25">
              <a:extLst>
                <a:ext uri="{FF2B5EF4-FFF2-40B4-BE49-F238E27FC236}">
                  <a16:creationId xmlns:a16="http://schemas.microsoft.com/office/drawing/2014/main" id="{3EAF6B99-79B4-43B1-842F-B1AFF0CC1E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6" name="Freeform 26">
              <a:extLst>
                <a:ext uri="{FF2B5EF4-FFF2-40B4-BE49-F238E27FC236}">
                  <a16:creationId xmlns:a16="http://schemas.microsoft.com/office/drawing/2014/main" id="{6C79F926-94C7-4522-9614-397593F62E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7" name="Freeform 27">
              <a:extLst>
                <a:ext uri="{FF2B5EF4-FFF2-40B4-BE49-F238E27FC236}">
                  <a16:creationId xmlns:a16="http://schemas.microsoft.com/office/drawing/2014/main" id="{FDD151CA-6BF4-4036-98ED-05B831B530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8" name="Freeform 28">
              <a:extLst>
                <a:ext uri="{FF2B5EF4-FFF2-40B4-BE49-F238E27FC236}">
                  <a16:creationId xmlns:a16="http://schemas.microsoft.com/office/drawing/2014/main" id="{AB448DEB-E490-4038-8414-1A68B9109C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524059C3-D356-4C34-9C06-DD896588BF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247D07C2-EC7B-4730-92FA-6B8D84B80D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5D6F08FA-2532-4558-9602-AF1744F99F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E685EBE7-869E-41B0-BCD8-FF537CBD5C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3" name="Freeform 34">
              <a:extLst>
                <a:ext uri="{FF2B5EF4-FFF2-40B4-BE49-F238E27FC236}">
                  <a16:creationId xmlns:a16="http://schemas.microsoft.com/office/drawing/2014/main" id="{C3AB8B41-7BD9-44AA-B986-74D53C9AF3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4" name="Freeform 35">
              <a:extLst>
                <a:ext uri="{FF2B5EF4-FFF2-40B4-BE49-F238E27FC236}">
                  <a16:creationId xmlns:a16="http://schemas.microsoft.com/office/drawing/2014/main" id="{EDE8817E-73C2-4561-8428-03CCAFF40C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5" name="Freeform 36">
              <a:extLst>
                <a:ext uri="{FF2B5EF4-FFF2-40B4-BE49-F238E27FC236}">
                  <a16:creationId xmlns:a16="http://schemas.microsoft.com/office/drawing/2014/main" id="{AF8224B5-9A1C-4DFC-9A81-E5FD62FB56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6" name="Freeform 37">
              <a:extLst>
                <a:ext uri="{FF2B5EF4-FFF2-40B4-BE49-F238E27FC236}">
                  <a16:creationId xmlns:a16="http://schemas.microsoft.com/office/drawing/2014/main" id="{1C2A9587-67A6-4716-977B-862BFA82E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7" name="Freeform 38">
              <a:extLst>
                <a:ext uri="{FF2B5EF4-FFF2-40B4-BE49-F238E27FC236}">
                  <a16:creationId xmlns:a16="http://schemas.microsoft.com/office/drawing/2014/main" id="{495A0897-65A5-4410-A4A7-BD794D83C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8" name="Freeform 39">
              <a:extLst>
                <a:ext uri="{FF2B5EF4-FFF2-40B4-BE49-F238E27FC236}">
                  <a16:creationId xmlns:a16="http://schemas.microsoft.com/office/drawing/2014/main" id="{7E97296E-EB49-46E9-8E93-4AA5F3E541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9" name="Freeform 40">
              <a:extLst>
                <a:ext uri="{FF2B5EF4-FFF2-40B4-BE49-F238E27FC236}">
                  <a16:creationId xmlns:a16="http://schemas.microsoft.com/office/drawing/2014/main" id="{2F3461FC-DD4F-4CA4-B2A8-7F4F566F61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0" name="Freeform 41">
              <a:extLst>
                <a:ext uri="{FF2B5EF4-FFF2-40B4-BE49-F238E27FC236}">
                  <a16:creationId xmlns:a16="http://schemas.microsoft.com/office/drawing/2014/main" id="{8908A0F4-A93F-4BE5-8463-B36A8039B5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1" name="Freeform 42">
              <a:extLst>
                <a:ext uri="{FF2B5EF4-FFF2-40B4-BE49-F238E27FC236}">
                  <a16:creationId xmlns:a16="http://schemas.microsoft.com/office/drawing/2014/main" id="{24D30A92-E7FF-424A-B0A9-AC7FE32E77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2" name="Freeform 43">
              <a:extLst>
                <a:ext uri="{FF2B5EF4-FFF2-40B4-BE49-F238E27FC236}">
                  <a16:creationId xmlns:a16="http://schemas.microsoft.com/office/drawing/2014/main" id="{B2A95380-ABEE-40CA-BBE5-1E3411D8CD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3" name="Freeform 44">
              <a:extLst>
                <a:ext uri="{FF2B5EF4-FFF2-40B4-BE49-F238E27FC236}">
                  <a16:creationId xmlns:a16="http://schemas.microsoft.com/office/drawing/2014/main" id="{25364CF1-47E1-42AA-B408-1241E63E8C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4" name="Freeform 45">
              <a:extLst>
                <a:ext uri="{FF2B5EF4-FFF2-40B4-BE49-F238E27FC236}">
                  <a16:creationId xmlns:a16="http://schemas.microsoft.com/office/drawing/2014/main" id="{722A9A6F-E73A-4E34-A53F-A559E043C3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5" name="Freeform 46">
              <a:extLst>
                <a:ext uri="{FF2B5EF4-FFF2-40B4-BE49-F238E27FC236}">
                  <a16:creationId xmlns:a16="http://schemas.microsoft.com/office/drawing/2014/main" id="{7DC776F1-D1BF-4756-9B11-A3922DD28A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6" name="Freeform 47">
              <a:extLst>
                <a:ext uri="{FF2B5EF4-FFF2-40B4-BE49-F238E27FC236}">
                  <a16:creationId xmlns:a16="http://schemas.microsoft.com/office/drawing/2014/main" id="{F702349C-C6E4-46A5-8802-BB88DD4BE2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7" name="Freeform 48">
              <a:extLst>
                <a:ext uri="{FF2B5EF4-FFF2-40B4-BE49-F238E27FC236}">
                  <a16:creationId xmlns:a16="http://schemas.microsoft.com/office/drawing/2014/main" id="{346BC6D5-9E5A-4B92-9611-F9D07EF485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8" name="Freeform 49">
              <a:extLst>
                <a:ext uri="{FF2B5EF4-FFF2-40B4-BE49-F238E27FC236}">
                  <a16:creationId xmlns:a16="http://schemas.microsoft.com/office/drawing/2014/main" id="{2A9DF814-73D8-4894-8B96-23B40E6E90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9" name="Freeform 50">
              <a:extLst>
                <a:ext uri="{FF2B5EF4-FFF2-40B4-BE49-F238E27FC236}">
                  <a16:creationId xmlns:a16="http://schemas.microsoft.com/office/drawing/2014/main" id="{58C1703B-88EC-4C9F-B827-837D126B61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0" name="Freeform 51">
              <a:extLst>
                <a:ext uri="{FF2B5EF4-FFF2-40B4-BE49-F238E27FC236}">
                  <a16:creationId xmlns:a16="http://schemas.microsoft.com/office/drawing/2014/main" id="{7589E396-ADCF-4596-8DE4-4379AFCE7E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1" name="Freeform 52">
              <a:extLst>
                <a:ext uri="{FF2B5EF4-FFF2-40B4-BE49-F238E27FC236}">
                  <a16:creationId xmlns:a16="http://schemas.microsoft.com/office/drawing/2014/main" id="{C49FDA79-CF20-4CA4-9EC3-273E88B10C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2" name="Freeform 53">
              <a:extLst>
                <a:ext uri="{FF2B5EF4-FFF2-40B4-BE49-F238E27FC236}">
                  <a16:creationId xmlns:a16="http://schemas.microsoft.com/office/drawing/2014/main" id="{EAF66CB7-8F32-4F0C-B5A2-11A6143DA7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3" name="Freeform 54">
              <a:extLst>
                <a:ext uri="{FF2B5EF4-FFF2-40B4-BE49-F238E27FC236}">
                  <a16:creationId xmlns:a16="http://schemas.microsoft.com/office/drawing/2014/main" id="{DD4F44F0-927E-4351-9C37-2EE63B71F0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4" name="Freeform 55">
              <a:extLst>
                <a:ext uri="{FF2B5EF4-FFF2-40B4-BE49-F238E27FC236}">
                  <a16:creationId xmlns:a16="http://schemas.microsoft.com/office/drawing/2014/main" id="{92AC303A-678D-4707-A16F-2DA1A07D9D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5" name="Freeform 56">
              <a:extLst>
                <a:ext uri="{FF2B5EF4-FFF2-40B4-BE49-F238E27FC236}">
                  <a16:creationId xmlns:a16="http://schemas.microsoft.com/office/drawing/2014/main" id="{4BCFC9F6-3BBE-4394-851E-3738C7D6EB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6" name="Freeform 57">
              <a:extLst>
                <a:ext uri="{FF2B5EF4-FFF2-40B4-BE49-F238E27FC236}">
                  <a16:creationId xmlns:a16="http://schemas.microsoft.com/office/drawing/2014/main" id="{D4997C90-4986-45C1-9DAC-A5D26B02F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7" name="Freeform 58">
              <a:extLst>
                <a:ext uri="{FF2B5EF4-FFF2-40B4-BE49-F238E27FC236}">
                  <a16:creationId xmlns:a16="http://schemas.microsoft.com/office/drawing/2014/main" id="{ACC13E25-4EE3-4A63-B0AF-2162BB78EC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8" name="Freeform 59">
              <a:extLst>
                <a:ext uri="{FF2B5EF4-FFF2-40B4-BE49-F238E27FC236}">
                  <a16:creationId xmlns:a16="http://schemas.microsoft.com/office/drawing/2014/main" id="{87AA0A80-577E-43A6-B738-0BAFE7F7B4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9" name="Freeform 60">
              <a:extLst>
                <a:ext uri="{FF2B5EF4-FFF2-40B4-BE49-F238E27FC236}">
                  <a16:creationId xmlns:a16="http://schemas.microsoft.com/office/drawing/2014/main" id="{3DBFF628-46A4-41BD-9FA9-3D4418E866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0" name="Freeform 61">
              <a:extLst>
                <a:ext uri="{FF2B5EF4-FFF2-40B4-BE49-F238E27FC236}">
                  <a16:creationId xmlns:a16="http://schemas.microsoft.com/office/drawing/2014/main" id="{D6413240-42B4-45DB-BBA2-56A1CDBD3C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1" name="Freeform 62">
              <a:extLst>
                <a:ext uri="{FF2B5EF4-FFF2-40B4-BE49-F238E27FC236}">
                  <a16:creationId xmlns:a16="http://schemas.microsoft.com/office/drawing/2014/main" id="{8AAB2B20-3978-4858-9836-C1351201A6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</p:grp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FCFB8DF9-51A8-485E-9F12-E5A3330F489E}"/>
              </a:ext>
            </a:extLst>
          </p:cNvPr>
          <p:cNvSpPr/>
          <p:nvPr userDrawn="1"/>
        </p:nvSpPr>
        <p:spPr>
          <a:xfrm>
            <a:off x="6272240" y="1030147"/>
            <a:ext cx="5919758" cy="5825419"/>
          </a:xfrm>
          <a:custGeom>
            <a:avLst/>
            <a:gdLst>
              <a:gd name="connsiteX0" fmla="*/ 5919758 w 5919758"/>
              <a:gd name="connsiteY0" fmla="*/ 0 h 5825419"/>
              <a:gd name="connsiteX1" fmla="*/ 5919758 w 5919758"/>
              <a:gd name="connsiteY1" fmla="*/ 5825419 h 5825419"/>
              <a:gd name="connsiteX2" fmla="*/ 1120273 w 5919758"/>
              <a:gd name="connsiteY2" fmla="*/ 5825419 h 5825419"/>
              <a:gd name="connsiteX3" fmla="*/ 0 w 5919758"/>
              <a:gd name="connsiteY3" fmla="*/ 1588036 h 582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9758" h="5825419">
                <a:moveTo>
                  <a:pt x="5919758" y="0"/>
                </a:moveTo>
                <a:lnTo>
                  <a:pt x="5919758" y="5825419"/>
                </a:lnTo>
                <a:lnTo>
                  <a:pt x="1120273" y="5825419"/>
                </a:lnTo>
                <a:lnTo>
                  <a:pt x="0" y="1588036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8781" t="-8782" r="-19370" b="-1936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3" name="Text Placeholder 140">
            <a:extLst>
              <a:ext uri="{FF2B5EF4-FFF2-40B4-BE49-F238E27FC236}">
                <a16:creationId xmlns:a16="http://schemas.microsoft.com/office/drawing/2014/main" id="{2DDB1C3D-68C3-412D-8EB3-97570F00136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2" y="5394937"/>
            <a:ext cx="4772203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tx2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66" name="Text Placeholder 135">
            <a:extLst>
              <a:ext uri="{FF2B5EF4-FFF2-40B4-BE49-F238E27FC236}">
                <a16:creationId xmlns:a16="http://schemas.microsoft.com/office/drawing/2014/main" id="{28C843FD-33AA-4EEC-9FDF-27DC52E9A1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11342566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-Commun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890DF213-662F-4F0F-AF3A-12E90D6AB403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4772203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600"/>
              </a:spcAft>
              <a:buNone/>
              <a:defRPr sz="3800" b="1">
                <a:solidFill>
                  <a:schemeClr val="tx2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70" name="Group 4">
            <a:extLst>
              <a:ext uri="{FF2B5EF4-FFF2-40B4-BE49-F238E27FC236}">
                <a16:creationId xmlns:a16="http://schemas.microsoft.com/office/drawing/2014/main" id="{3AFBB0F5-5EB0-405F-9812-3F6111C207C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07255" y="616633"/>
            <a:ext cx="1440000" cy="1443689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72" name="AutoShape 3">
              <a:extLst>
                <a:ext uri="{FF2B5EF4-FFF2-40B4-BE49-F238E27FC236}">
                  <a16:creationId xmlns:a16="http://schemas.microsoft.com/office/drawing/2014/main" id="{EE348DCA-F65E-472C-8E94-01A3FE818B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3" name="Rectangle 5">
              <a:extLst>
                <a:ext uri="{FF2B5EF4-FFF2-40B4-BE49-F238E27FC236}">
                  <a16:creationId xmlns:a16="http://schemas.microsoft.com/office/drawing/2014/main" id="{43ED83A1-CC4D-42EA-8ABE-37ED66A648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6" name="Freeform 6">
              <a:extLst>
                <a:ext uri="{FF2B5EF4-FFF2-40B4-BE49-F238E27FC236}">
                  <a16:creationId xmlns:a16="http://schemas.microsoft.com/office/drawing/2014/main" id="{C14D3AFF-4015-4ADB-AB21-B4EADD0CA3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7" name="Freeform 7">
              <a:extLst>
                <a:ext uri="{FF2B5EF4-FFF2-40B4-BE49-F238E27FC236}">
                  <a16:creationId xmlns:a16="http://schemas.microsoft.com/office/drawing/2014/main" id="{338B28A6-DBB6-499A-9175-D30CDBFB6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B4F42473-3AD2-48CF-9DF2-688A050792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4CFCC169-6EE2-4286-8FE4-D99450A443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0" name="Freeform 10">
              <a:extLst>
                <a:ext uri="{FF2B5EF4-FFF2-40B4-BE49-F238E27FC236}">
                  <a16:creationId xmlns:a16="http://schemas.microsoft.com/office/drawing/2014/main" id="{9D240A6C-65D8-4404-BD21-34BFC830B9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1" name="Freeform 11">
              <a:extLst>
                <a:ext uri="{FF2B5EF4-FFF2-40B4-BE49-F238E27FC236}">
                  <a16:creationId xmlns:a16="http://schemas.microsoft.com/office/drawing/2014/main" id="{D2693798-E801-4A01-899D-3526F4E679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2" name="Freeform 12">
              <a:extLst>
                <a:ext uri="{FF2B5EF4-FFF2-40B4-BE49-F238E27FC236}">
                  <a16:creationId xmlns:a16="http://schemas.microsoft.com/office/drawing/2014/main" id="{285079AC-870B-48A5-93B9-BCEBA2C149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3" name="Freeform 13">
              <a:extLst>
                <a:ext uri="{FF2B5EF4-FFF2-40B4-BE49-F238E27FC236}">
                  <a16:creationId xmlns:a16="http://schemas.microsoft.com/office/drawing/2014/main" id="{999F3F9A-C895-4189-8520-0793CCCD0B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4" name="Freeform 14">
              <a:extLst>
                <a:ext uri="{FF2B5EF4-FFF2-40B4-BE49-F238E27FC236}">
                  <a16:creationId xmlns:a16="http://schemas.microsoft.com/office/drawing/2014/main" id="{5161D696-7B40-4240-8A0E-23B94BADBC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5" name="Freeform 15">
              <a:extLst>
                <a:ext uri="{FF2B5EF4-FFF2-40B4-BE49-F238E27FC236}">
                  <a16:creationId xmlns:a16="http://schemas.microsoft.com/office/drawing/2014/main" id="{4C75893E-D358-44AC-A3CF-2EED9778A4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6" name="Freeform 16">
              <a:extLst>
                <a:ext uri="{FF2B5EF4-FFF2-40B4-BE49-F238E27FC236}">
                  <a16:creationId xmlns:a16="http://schemas.microsoft.com/office/drawing/2014/main" id="{7637E8F0-D81C-476F-8F8E-D9920CB899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7" name="Freeform 17">
              <a:extLst>
                <a:ext uri="{FF2B5EF4-FFF2-40B4-BE49-F238E27FC236}">
                  <a16:creationId xmlns:a16="http://schemas.microsoft.com/office/drawing/2014/main" id="{871A423F-334B-41DD-AB12-69F4222E2B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8" name="Freeform 18">
              <a:extLst>
                <a:ext uri="{FF2B5EF4-FFF2-40B4-BE49-F238E27FC236}">
                  <a16:creationId xmlns:a16="http://schemas.microsoft.com/office/drawing/2014/main" id="{F58C111E-E1E0-495A-B19E-19C23BC04A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9" name="Freeform 19">
              <a:extLst>
                <a:ext uri="{FF2B5EF4-FFF2-40B4-BE49-F238E27FC236}">
                  <a16:creationId xmlns:a16="http://schemas.microsoft.com/office/drawing/2014/main" id="{C13C60D4-33A1-4116-A310-C2D5DDC4EE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0" name="Freeform 20">
              <a:extLst>
                <a:ext uri="{FF2B5EF4-FFF2-40B4-BE49-F238E27FC236}">
                  <a16:creationId xmlns:a16="http://schemas.microsoft.com/office/drawing/2014/main" id="{A48538EB-0D4D-49B9-BDCF-9D922353F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1" name="Rectangle 21">
              <a:extLst>
                <a:ext uri="{FF2B5EF4-FFF2-40B4-BE49-F238E27FC236}">
                  <a16:creationId xmlns:a16="http://schemas.microsoft.com/office/drawing/2014/main" id="{1487FAD7-88D3-4A87-99A7-7B072B555F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2" name="Freeform 22">
              <a:extLst>
                <a:ext uri="{FF2B5EF4-FFF2-40B4-BE49-F238E27FC236}">
                  <a16:creationId xmlns:a16="http://schemas.microsoft.com/office/drawing/2014/main" id="{8914B577-98F3-43EF-BC4A-E7588E200C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3" name="Freeform 23">
              <a:extLst>
                <a:ext uri="{FF2B5EF4-FFF2-40B4-BE49-F238E27FC236}">
                  <a16:creationId xmlns:a16="http://schemas.microsoft.com/office/drawing/2014/main" id="{B5308D54-22FE-4DA7-BC01-ED460072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4" name="Freeform 24">
              <a:extLst>
                <a:ext uri="{FF2B5EF4-FFF2-40B4-BE49-F238E27FC236}">
                  <a16:creationId xmlns:a16="http://schemas.microsoft.com/office/drawing/2014/main" id="{3A60EE4F-D706-499A-8872-B156049D5B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5" name="Freeform 25">
              <a:extLst>
                <a:ext uri="{FF2B5EF4-FFF2-40B4-BE49-F238E27FC236}">
                  <a16:creationId xmlns:a16="http://schemas.microsoft.com/office/drawing/2014/main" id="{3EAF6B99-79B4-43B1-842F-B1AFF0CC1E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6" name="Freeform 26">
              <a:extLst>
                <a:ext uri="{FF2B5EF4-FFF2-40B4-BE49-F238E27FC236}">
                  <a16:creationId xmlns:a16="http://schemas.microsoft.com/office/drawing/2014/main" id="{6C79F926-94C7-4522-9614-397593F62E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7" name="Freeform 27">
              <a:extLst>
                <a:ext uri="{FF2B5EF4-FFF2-40B4-BE49-F238E27FC236}">
                  <a16:creationId xmlns:a16="http://schemas.microsoft.com/office/drawing/2014/main" id="{FDD151CA-6BF4-4036-98ED-05B831B530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8" name="Freeform 28">
              <a:extLst>
                <a:ext uri="{FF2B5EF4-FFF2-40B4-BE49-F238E27FC236}">
                  <a16:creationId xmlns:a16="http://schemas.microsoft.com/office/drawing/2014/main" id="{AB448DEB-E490-4038-8414-1A68B9109C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524059C3-D356-4C34-9C06-DD896588BF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247D07C2-EC7B-4730-92FA-6B8D84B80D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5D6F08FA-2532-4558-9602-AF1744F99F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E685EBE7-869E-41B0-BCD8-FF537CBD5C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3" name="Freeform 34">
              <a:extLst>
                <a:ext uri="{FF2B5EF4-FFF2-40B4-BE49-F238E27FC236}">
                  <a16:creationId xmlns:a16="http://schemas.microsoft.com/office/drawing/2014/main" id="{C3AB8B41-7BD9-44AA-B986-74D53C9AF3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4" name="Freeform 35">
              <a:extLst>
                <a:ext uri="{FF2B5EF4-FFF2-40B4-BE49-F238E27FC236}">
                  <a16:creationId xmlns:a16="http://schemas.microsoft.com/office/drawing/2014/main" id="{EDE8817E-73C2-4561-8428-03CCAFF40C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5" name="Freeform 36">
              <a:extLst>
                <a:ext uri="{FF2B5EF4-FFF2-40B4-BE49-F238E27FC236}">
                  <a16:creationId xmlns:a16="http://schemas.microsoft.com/office/drawing/2014/main" id="{AF8224B5-9A1C-4DFC-9A81-E5FD62FB56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6" name="Freeform 37">
              <a:extLst>
                <a:ext uri="{FF2B5EF4-FFF2-40B4-BE49-F238E27FC236}">
                  <a16:creationId xmlns:a16="http://schemas.microsoft.com/office/drawing/2014/main" id="{1C2A9587-67A6-4716-977B-862BFA82E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7" name="Freeform 38">
              <a:extLst>
                <a:ext uri="{FF2B5EF4-FFF2-40B4-BE49-F238E27FC236}">
                  <a16:creationId xmlns:a16="http://schemas.microsoft.com/office/drawing/2014/main" id="{495A0897-65A5-4410-A4A7-BD794D83C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8" name="Freeform 39">
              <a:extLst>
                <a:ext uri="{FF2B5EF4-FFF2-40B4-BE49-F238E27FC236}">
                  <a16:creationId xmlns:a16="http://schemas.microsoft.com/office/drawing/2014/main" id="{7E97296E-EB49-46E9-8E93-4AA5F3E541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9" name="Freeform 40">
              <a:extLst>
                <a:ext uri="{FF2B5EF4-FFF2-40B4-BE49-F238E27FC236}">
                  <a16:creationId xmlns:a16="http://schemas.microsoft.com/office/drawing/2014/main" id="{2F3461FC-DD4F-4CA4-B2A8-7F4F566F61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0" name="Freeform 41">
              <a:extLst>
                <a:ext uri="{FF2B5EF4-FFF2-40B4-BE49-F238E27FC236}">
                  <a16:creationId xmlns:a16="http://schemas.microsoft.com/office/drawing/2014/main" id="{8908A0F4-A93F-4BE5-8463-B36A8039B5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1" name="Freeform 42">
              <a:extLst>
                <a:ext uri="{FF2B5EF4-FFF2-40B4-BE49-F238E27FC236}">
                  <a16:creationId xmlns:a16="http://schemas.microsoft.com/office/drawing/2014/main" id="{24D30A92-E7FF-424A-B0A9-AC7FE32E77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2" name="Freeform 43">
              <a:extLst>
                <a:ext uri="{FF2B5EF4-FFF2-40B4-BE49-F238E27FC236}">
                  <a16:creationId xmlns:a16="http://schemas.microsoft.com/office/drawing/2014/main" id="{B2A95380-ABEE-40CA-BBE5-1E3411D8CD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3" name="Freeform 44">
              <a:extLst>
                <a:ext uri="{FF2B5EF4-FFF2-40B4-BE49-F238E27FC236}">
                  <a16:creationId xmlns:a16="http://schemas.microsoft.com/office/drawing/2014/main" id="{25364CF1-47E1-42AA-B408-1241E63E8C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4" name="Freeform 45">
              <a:extLst>
                <a:ext uri="{FF2B5EF4-FFF2-40B4-BE49-F238E27FC236}">
                  <a16:creationId xmlns:a16="http://schemas.microsoft.com/office/drawing/2014/main" id="{722A9A6F-E73A-4E34-A53F-A559E043C3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5" name="Freeform 46">
              <a:extLst>
                <a:ext uri="{FF2B5EF4-FFF2-40B4-BE49-F238E27FC236}">
                  <a16:creationId xmlns:a16="http://schemas.microsoft.com/office/drawing/2014/main" id="{7DC776F1-D1BF-4756-9B11-A3922DD28A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6" name="Freeform 47">
              <a:extLst>
                <a:ext uri="{FF2B5EF4-FFF2-40B4-BE49-F238E27FC236}">
                  <a16:creationId xmlns:a16="http://schemas.microsoft.com/office/drawing/2014/main" id="{F702349C-C6E4-46A5-8802-BB88DD4BE2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7" name="Freeform 48">
              <a:extLst>
                <a:ext uri="{FF2B5EF4-FFF2-40B4-BE49-F238E27FC236}">
                  <a16:creationId xmlns:a16="http://schemas.microsoft.com/office/drawing/2014/main" id="{346BC6D5-9E5A-4B92-9611-F9D07EF485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8" name="Freeform 49">
              <a:extLst>
                <a:ext uri="{FF2B5EF4-FFF2-40B4-BE49-F238E27FC236}">
                  <a16:creationId xmlns:a16="http://schemas.microsoft.com/office/drawing/2014/main" id="{2A9DF814-73D8-4894-8B96-23B40E6E90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9" name="Freeform 50">
              <a:extLst>
                <a:ext uri="{FF2B5EF4-FFF2-40B4-BE49-F238E27FC236}">
                  <a16:creationId xmlns:a16="http://schemas.microsoft.com/office/drawing/2014/main" id="{58C1703B-88EC-4C9F-B827-837D126B61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0" name="Freeform 51">
              <a:extLst>
                <a:ext uri="{FF2B5EF4-FFF2-40B4-BE49-F238E27FC236}">
                  <a16:creationId xmlns:a16="http://schemas.microsoft.com/office/drawing/2014/main" id="{7589E396-ADCF-4596-8DE4-4379AFCE7E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1" name="Freeform 52">
              <a:extLst>
                <a:ext uri="{FF2B5EF4-FFF2-40B4-BE49-F238E27FC236}">
                  <a16:creationId xmlns:a16="http://schemas.microsoft.com/office/drawing/2014/main" id="{C49FDA79-CF20-4CA4-9EC3-273E88B10C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2" name="Freeform 53">
              <a:extLst>
                <a:ext uri="{FF2B5EF4-FFF2-40B4-BE49-F238E27FC236}">
                  <a16:creationId xmlns:a16="http://schemas.microsoft.com/office/drawing/2014/main" id="{EAF66CB7-8F32-4F0C-B5A2-11A6143DA7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3" name="Freeform 54">
              <a:extLst>
                <a:ext uri="{FF2B5EF4-FFF2-40B4-BE49-F238E27FC236}">
                  <a16:creationId xmlns:a16="http://schemas.microsoft.com/office/drawing/2014/main" id="{DD4F44F0-927E-4351-9C37-2EE63B71F0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4" name="Freeform 55">
              <a:extLst>
                <a:ext uri="{FF2B5EF4-FFF2-40B4-BE49-F238E27FC236}">
                  <a16:creationId xmlns:a16="http://schemas.microsoft.com/office/drawing/2014/main" id="{92AC303A-678D-4707-A16F-2DA1A07D9D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5" name="Freeform 56">
              <a:extLst>
                <a:ext uri="{FF2B5EF4-FFF2-40B4-BE49-F238E27FC236}">
                  <a16:creationId xmlns:a16="http://schemas.microsoft.com/office/drawing/2014/main" id="{4BCFC9F6-3BBE-4394-851E-3738C7D6EB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6" name="Freeform 57">
              <a:extLst>
                <a:ext uri="{FF2B5EF4-FFF2-40B4-BE49-F238E27FC236}">
                  <a16:creationId xmlns:a16="http://schemas.microsoft.com/office/drawing/2014/main" id="{D4997C90-4986-45C1-9DAC-A5D26B02F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7" name="Freeform 58">
              <a:extLst>
                <a:ext uri="{FF2B5EF4-FFF2-40B4-BE49-F238E27FC236}">
                  <a16:creationId xmlns:a16="http://schemas.microsoft.com/office/drawing/2014/main" id="{ACC13E25-4EE3-4A63-B0AF-2162BB78EC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8" name="Freeform 59">
              <a:extLst>
                <a:ext uri="{FF2B5EF4-FFF2-40B4-BE49-F238E27FC236}">
                  <a16:creationId xmlns:a16="http://schemas.microsoft.com/office/drawing/2014/main" id="{87AA0A80-577E-43A6-B738-0BAFE7F7B4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9" name="Freeform 60">
              <a:extLst>
                <a:ext uri="{FF2B5EF4-FFF2-40B4-BE49-F238E27FC236}">
                  <a16:creationId xmlns:a16="http://schemas.microsoft.com/office/drawing/2014/main" id="{3DBFF628-46A4-41BD-9FA9-3D4418E866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0" name="Freeform 61">
              <a:extLst>
                <a:ext uri="{FF2B5EF4-FFF2-40B4-BE49-F238E27FC236}">
                  <a16:creationId xmlns:a16="http://schemas.microsoft.com/office/drawing/2014/main" id="{D6413240-42B4-45DB-BBA2-56A1CDBD3C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1" name="Freeform 62">
              <a:extLst>
                <a:ext uri="{FF2B5EF4-FFF2-40B4-BE49-F238E27FC236}">
                  <a16:creationId xmlns:a16="http://schemas.microsoft.com/office/drawing/2014/main" id="{8AAB2B20-3978-4858-9836-C1351201A6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</p:grp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9C7F53C6-9053-440C-8E3D-971AFB12FFFC}"/>
              </a:ext>
            </a:extLst>
          </p:cNvPr>
          <p:cNvSpPr/>
          <p:nvPr userDrawn="1"/>
        </p:nvSpPr>
        <p:spPr>
          <a:xfrm>
            <a:off x="6272240" y="1030147"/>
            <a:ext cx="5919758" cy="5825419"/>
          </a:xfrm>
          <a:custGeom>
            <a:avLst/>
            <a:gdLst>
              <a:gd name="connsiteX0" fmla="*/ 5919758 w 5919758"/>
              <a:gd name="connsiteY0" fmla="*/ 0 h 5825419"/>
              <a:gd name="connsiteX1" fmla="*/ 5919758 w 5919758"/>
              <a:gd name="connsiteY1" fmla="*/ 5825419 h 5825419"/>
              <a:gd name="connsiteX2" fmla="*/ 1120273 w 5919758"/>
              <a:gd name="connsiteY2" fmla="*/ 5825419 h 5825419"/>
              <a:gd name="connsiteX3" fmla="*/ 0 w 5919758"/>
              <a:gd name="connsiteY3" fmla="*/ 1588036 h 582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9758" h="5825419">
                <a:moveTo>
                  <a:pt x="5919758" y="0"/>
                </a:moveTo>
                <a:lnTo>
                  <a:pt x="5919758" y="5825419"/>
                </a:lnTo>
                <a:lnTo>
                  <a:pt x="1120273" y="5825419"/>
                </a:lnTo>
                <a:lnTo>
                  <a:pt x="0" y="1588036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28854" t="-32933" r="-6493" b="-241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3" name="Text Placeholder 140">
            <a:extLst>
              <a:ext uri="{FF2B5EF4-FFF2-40B4-BE49-F238E27FC236}">
                <a16:creationId xmlns:a16="http://schemas.microsoft.com/office/drawing/2014/main" id="{7AF040AB-A5DC-4D6D-B6BA-75BCAFC7AA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2" y="5394937"/>
            <a:ext cx="4772203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tx2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66" name="Text Placeholder 135">
            <a:extLst>
              <a:ext uri="{FF2B5EF4-FFF2-40B4-BE49-F238E27FC236}">
                <a16:creationId xmlns:a16="http://schemas.microsoft.com/office/drawing/2014/main" id="{E51F7505-AB35-46E5-9D36-6EFD604C99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12642194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-Knowled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890DF213-662F-4F0F-AF3A-12E90D6AB403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4772203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600"/>
              </a:spcAft>
              <a:buNone/>
              <a:defRPr sz="3800" b="1">
                <a:solidFill>
                  <a:schemeClr val="tx2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70" name="Group 4">
            <a:extLst>
              <a:ext uri="{FF2B5EF4-FFF2-40B4-BE49-F238E27FC236}">
                <a16:creationId xmlns:a16="http://schemas.microsoft.com/office/drawing/2014/main" id="{3AFBB0F5-5EB0-405F-9812-3F6111C207C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07255" y="616633"/>
            <a:ext cx="1440000" cy="1443689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72" name="AutoShape 3">
              <a:extLst>
                <a:ext uri="{FF2B5EF4-FFF2-40B4-BE49-F238E27FC236}">
                  <a16:creationId xmlns:a16="http://schemas.microsoft.com/office/drawing/2014/main" id="{EE348DCA-F65E-472C-8E94-01A3FE818B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3" name="Rectangle 5">
              <a:extLst>
                <a:ext uri="{FF2B5EF4-FFF2-40B4-BE49-F238E27FC236}">
                  <a16:creationId xmlns:a16="http://schemas.microsoft.com/office/drawing/2014/main" id="{43ED83A1-CC4D-42EA-8ABE-37ED66A648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6" name="Freeform 6">
              <a:extLst>
                <a:ext uri="{FF2B5EF4-FFF2-40B4-BE49-F238E27FC236}">
                  <a16:creationId xmlns:a16="http://schemas.microsoft.com/office/drawing/2014/main" id="{C14D3AFF-4015-4ADB-AB21-B4EADD0CA3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7" name="Freeform 7">
              <a:extLst>
                <a:ext uri="{FF2B5EF4-FFF2-40B4-BE49-F238E27FC236}">
                  <a16:creationId xmlns:a16="http://schemas.microsoft.com/office/drawing/2014/main" id="{338B28A6-DBB6-499A-9175-D30CDBFB6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B4F42473-3AD2-48CF-9DF2-688A050792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4CFCC169-6EE2-4286-8FE4-D99450A443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0" name="Freeform 10">
              <a:extLst>
                <a:ext uri="{FF2B5EF4-FFF2-40B4-BE49-F238E27FC236}">
                  <a16:creationId xmlns:a16="http://schemas.microsoft.com/office/drawing/2014/main" id="{9D240A6C-65D8-4404-BD21-34BFC830B9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1" name="Freeform 11">
              <a:extLst>
                <a:ext uri="{FF2B5EF4-FFF2-40B4-BE49-F238E27FC236}">
                  <a16:creationId xmlns:a16="http://schemas.microsoft.com/office/drawing/2014/main" id="{D2693798-E801-4A01-899D-3526F4E679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2" name="Freeform 12">
              <a:extLst>
                <a:ext uri="{FF2B5EF4-FFF2-40B4-BE49-F238E27FC236}">
                  <a16:creationId xmlns:a16="http://schemas.microsoft.com/office/drawing/2014/main" id="{285079AC-870B-48A5-93B9-BCEBA2C149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3" name="Freeform 13">
              <a:extLst>
                <a:ext uri="{FF2B5EF4-FFF2-40B4-BE49-F238E27FC236}">
                  <a16:creationId xmlns:a16="http://schemas.microsoft.com/office/drawing/2014/main" id="{999F3F9A-C895-4189-8520-0793CCCD0B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4" name="Freeform 14">
              <a:extLst>
                <a:ext uri="{FF2B5EF4-FFF2-40B4-BE49-F238E27FC236}">
                  <a16:creationId xmlns:a16="http://schemas.microsoft.com/office/drawing/2014/main" id="{5161D696-7B40-4240-8A0E-23B94BADBC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5" name="Freeform 15">
              <a:extLst>
                <a:ext uri="{FF2B5EF4-FFF2-40B4-BE49-F238E27FC236}">
                  <a16:creationId xmlns:a16="http://schemas.microsoft.com/office/drawing/2014/main" id="{4C75893E-D358-44AC-A3CF-2EED9778A4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6" name="Freeform 16">
              <a:extLst>
                <a:ext uri="{FF2B5EF4-FFF2-40B4-BE49-F238E27FC236}">
                  <a16:creationId xmlns:a16="http://schemas.microsoft.com/office/drawing/2014/main" id="{7637E8F0-D81C-476F-8F8E-D9920CB899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7" name="Freeform 17">
              <a:extLst>
                <a:ext uri="{FF2B5EF4-FFF2-40B4-BE49-F238E27FC236}">
                  <a16:creationId xmlns:a16="http://schemas.microsoft.com/office/drawing/2014/main" id="{871A423F-334B-41DD-AB12-69F4222E2B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8" name="Freeform 18">
              <a:extLst>
                <a:ext uri="{FF2B5EF4-FFF2-40B4-BE49-F238E27FC236}">
                  <a16:creationId xmlns:a16="http://schemas.microsoft.com/office/drawing/2014/main" id="{F58C111E-E1E0-495A-B19E-19C23BC04A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9" name="Freeform 19">
              <a:extLst>
                <a:ext uri="{FF2B5EF4-FFF2-40B4-BE49-F238E27FC236}">
                  <a16:creationId xmlns:a16="http://schemas.microsoft.com/office/drawing/2014/main" id="{C13C60D4-33A1-4116-A310-C2D5DDC4EE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0" name="Freeform 20">
              <a:extLst>
                <a:ext uri="{FF2B5EF4-FFF2-40B4-BE49-F238E27FC236}">
                  <a16:creationId xmlns:a16="http://schemas.microsoft.com/office/drawing/2014/main" id="{A48538EB-0D4D-49B9-BDCF-9D922353F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1" name="Rectangle 21">
              <a:extLst>
                <a:ext uri="{FF2B5EF4-FFF2-40B4-BE49-F238E27FC236}">
                  <a16:creationId xmlns:a16="http://schemas.microsoft.com/office/drawing/2014/main" id="{1487FAD7-88D3-4A87-99A7-7B072B555F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2" name="Freeform 22">
              <a:extLst>
                <a:ext uri="{FF2B5EF4-FFF2-40B4-BE49-F238E27FC236}">
                  <a16:creationId xmlns:a16="http://schemas.microsoft.com/office/drawing/2014/main" id="{8914B577-98F3-43EF-BC4A-E7588E200C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3" name="Freeform 23">
              <a:extLst>
                <a:ext uri="{FF2B5EF4-FFF2-40B4-BE49-F238E27FC236}">
                  <a16:creationId xmlns:a16="http://schemas.microsoft.com/office/drawing/2014/main" id="{B5308D54-22FE-4DA7-BC01-ED460072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4" name="Freeform 24">
              <a:extLst>
                <a:ext uri="{FF2B5EF4-FFF2-40B4-BE49-F238E27FC236}">
                  <a16:creationId xmlns:a16="http://schemas.microsoft.com/office/drawing/2014/main" id="{3A60EE4F-D706-499A-8872-B156049D5B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5" name="Freeform 25">
              <a:extLst>
                <a:ext uri="{FF2B5EF4-FFF2-40B4-BE49-F238E27FC236}">
                  <a16:creationId xmlns:a16="http://schemas.microsoft.com/office/drawing/2014/main" id="{3EAF6B99-79B4-43B1-842F-B1AFF0CC1E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6" name="Freeform 26">
              <a:extLst>
                <a:ext uri="{FF2B5EF4-FFF2-40B4-BE49-F238E27FC236}">
                  <a16:creationId xmlns:a16="http://schemas.microsoft.com/office/drawing/2014/main" id="{6C79F926-94C7-4522-9614-397593F62E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7" name="Freeform 27">
              <a:extLst>
                <a:ext uri="{FF2B5EF4-FFF2-40B4-BE49-F238E27FC236}">
                  <a16:creationId xmlns:a16="http://schemas.microsoft.com/office/drawing/2014/main" id="{FDD151CA-6BF4-4036-98ED-05B831B530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8" name="Freeform 28">
              <a:extLst>
                <a:ext uri="{FF2B5EF4-FFF2-40B4-BE49-F238E27FC236}">
                  <a16:creationId xmlns:a16="http://schemas.microsoft.com/office/drawing/2014/main" id="{AB448DEB-E490-4038-8414-1A68B9109C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524059C3-D356-4C34-9C06-DD896588BF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247D07C2-EC7B-4730-92FA-6B8D84B80D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5D6F08FA-2532-4558-9602-AF1744F99F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E685EBE7-869E-41B0-BCD8-FF537CBD5C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3" name="Freeform 34">
              <a:extLst>
                <a:ext uri="{FF2B5EF4-FFF2-40B4-BE49-F238E27FC236}">
                  <a16:creationId xmlns:a16="http://schemas.microsoft.com/office/drawing/2014/main" id="{C3AB8B41-7BD9-44AA-B986-74D53C9AF3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4" name="Freeform 35">
              <a:extLst>
                <a:ext uri="{FF2B5EF4-FFF2-40B4-BE49-F238E27FC236}">
                  <a16:creationId xmlns:a16="http://schemas.microsoft.com/office/drawing/2014/main" id="{EDE8817E-73C2-4561-8428-03CCAFF40C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5" name="Freeform 36">
              <a:extLst>
                <a:ext uri="{FF2B5EF4-FFF2-40B4-BE49-F238E27FC236}">
                  <a16:creationId xmlns:a16="http://schemas.microsoft.com/office/drawing/2014/main" id="{AF8224B5-9A1C-4DFC-9A81-E5FD62FB56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6" name="Freeform 37">
              <a:extLst>
                <a:ext uri="{FF2B5EF4-FFF2-40B4-BE49-F238E27FC236}">
                  <a16:creationId xmlns:a16="http://schemas.microsoft.com/office/drawing/2014/main" id="{1C2A9587-67A6-4716-977B-862BFA82E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7" name="Freeform 38">
              <a:extLst>
                <a:ext uri="{FF2B5EF4-FFF2-40B4-BE49-F238E27FC236}">
                  <a16:creationId xmlns:a16="http://schemas.microsoft.com/office/drawing/2014/main" id="{495A0897-65A5-4410-A4A7-BD794D83C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8" name="Freeform 39">
              <a:extLst>
                <a:ext uri="{FF2B5EF4-FFF2-40B4-BE49-F238E27FC236}">
                  <a16:creationId xmlns:a16="http://schemas.microsoft.com/office/drawing/2014/main" id="{7E97296E-EB49-46E9-8E93-4AA5F3E541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9" name="Freeform 40">
              <a:extLst>
                <a:ext uri="{FF2B5EF4-FFF2-40B4-BE49-F238E27FC236}">
                  <a16:creationId xmlns:a16="http://schemas.microsoft.com/office/drawing/2014/main" id="{2F3461FC-DD4F-4CA4-B2A8-7F4F566F61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0" name="Freeform 41">
              <a:extLst>
                <a:ext uri="{FF2B5EF4-FFF2-40B4-BE49-F238E27FC236}">
                  <a16:creationId xmlns:a16="http://schemas.microsoft.com/office/drawing/2014/main" id="{8908A0F4-A93F-4BE5-8463-B36A8039B5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1" name="Freeform 42">
              <a:extLst>
                <a:ext uri="{FF2B5EF4-FFF2-40B4-BE49-F238E27FC236}">
                  <a16:creationId xmlns:a16="http://schemas.microsoft.com/office/drawing/2014/main" id="{24D30A92-E7FF-424A-B0A9-AC7FE32E77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2" name="Freeform 43">
              <a:extLst>
                <a:ext uri="{FF2B5EF4-FFF2-40B4-BE49-F238E27FC236}">
                  <a16:creationId xmlns:a16="http://schemas.microsoft.com/office/drawing/2014/main" id="{B2A95380-ABEE-40CA-BBE5-1E3411D8CD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3" name="Freeform 44">
              <a:extLst>
                <a:ext uri="{FF2B5EF4-FFF2-40B4-BE49-F238E27FC236}">
                  <a16:creationId xmlns:a16="http://schemas.microsoft.com/office/drawing/2014/main" id="{25364CF1-47E1-42AA-B408-1241E63E8C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4" name="Freeform 45">
              <a:extLst>
                <a:ext uri="{FF2B5EF4-FFF2-40B4-BE49-F238E27FC236}">
                  <a16:creationId xmlns:a16="http://schemas.microsoft.com/office/drawing/2014/main" id="{722A9A6F-E73A-4E34-A53F-A559E043C3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5" name="Freeform 46">
              <a:extLst>
                <a:ext uri="{FF2B5EF4-FFF2-40B4-BE49-F238E27FC236}">
                  <a16:creationId xmlns:a16="http://schemas.microsoft.com/office/drawing/2014/main" id="{7DC776F1-D1BF-4756-9B11-A3922DD28A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6" name="Freeform 47">
              <a:extLst>
                <a:ext uri="{FF2B5EF4-FFF2-40B4-BE49-F238E27FC236}">
                  <a16:creationId xmlns:a16="http://schemas.microsoft.com/office/drawing/2014/main" id="{F702349C-C6E4-46A5-8802-BB88DD4BE2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7" name="Freeform 48">
              <a:extLst>
                <a:ext uri="{FF2B5EF4-FFF2-40B4-BE49-F238E27FC236}">
                  <a16:creationId xmlns:a16="http://schemas.microsoft.com/office/drawing/2014/main" id="{346BC6D5-9E5A-4B92-9611-F9D07EF485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8" name="Freeform 49">
              <a:extLst>
                <a:ext uri="{FF2B5EF4-FFF2-40B4-BE49-F238E27FC236}">
                  <a16:creationId xmlns:a16="http://schemas.microsoft.com/office/drawing/2014/main" id="{2A9DF814-73D8-4894-8B96-23B40E6E90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9" name="Freeform 50">
              <a:extLst>
                <a:ext uri="{FF2B5EF4-FFF2-40B4-BE49-F238E27FC236}">
                  <a16:creationId xmlns:a16="http://schemas.microsoft.com/office/drawing/2014/main" id="{58C1703B-88EC-4C9F-B827-837D126B61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0" name="Freeform 51">
              <a:extLst>
                <a:ext uri="{FF2B5EF4-FFF2-40B4-BE49-F238E27FC236}">
                  <a16:creationId xmlns:a16="http://schemas.microsoft.com/office/drawing/2014/main" id="{7589E396-ADCF-4596-8DE4-4379AFCE7E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1" name="Freeform 52">
              <a:extLst>
                <a:ext uri="{FF2B5EF4-FFF2-40B4-BE49-F238E27FC236}">
                  <a16:creationId xmlns:a16="http://schemas.microsoft.com/office/drawing/2014/main" id="{C49FDA79-CF20-4CA4-9EC3-273E88B10C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2" name="Freeform 53">
              <a:extLst>
                <a:ext uri="{FF2B5EF4-FFF2-40B4-BE49-F238E27FC236}">
                  <a16:creationId xmlns:a16="http://schemas.microsoft.com/office/drawing/2014/main" id="{EAF66CB7-8F32-4F0C-B5A2-11A6143DA7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3" name="Freeform 54">
              <a:extLst>
                <a:ext uri="{FF2B5EF4-FFF2-40B4-BE49-F238E27FC236}">
                  <a16:creationId xmlns:a16="http://schemas.microsoft.com/office/drawing/2014/main" id="{DD4F44F0-927E-4351-9C37-2EE63B71F0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4" name="Freeform 55">
              <a:extLst>
                <a:ext uri="{FF2B5EF4-FFF2-40B4-BE49-F238E27FC236}">
                  <a16:creationId xmlns:a16="http://schemas.microsoft.com/office/drawing/2014/main" id="{92AC303A-678D-4707-A16F-2DA1A07D9D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5" name="Freeform 56">
              <a:extLst>
                <a:ext uri="{FF2B5EF4-FFF2-40B4-BE49-F238E27FC236}">
                  <a16:creationId xmlns:a16="http://schemas.microsoft.com/office/drawing/2014/main" id="{4BCFC9F6-3BBE-4394-851E-3738C7D6EB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6" name="Freeform 57">
              <a:extLst>
                <a:ext uri="{FF2B5EF4-FFF2-40B4-BE49-F238E27FC236}">
                  <a16:creationId xmlns:a16="http://schemas.microsoft.com/office/drawing/2014/main" id="{D4997C90-4986-45C1-9DAC-A5D26B02F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7" name="Freeform 58">
              <a:extLst>
                <a:ext uri="{FF2B5EF4-FFF2-40B4-BE49-F238E27FC236}">
                  <a16:creationId xmlns:a16="http://schemas.microsoft.com/office/drawing/2014/main" id="{ACC13E25-4EE3-4A63-B0AF-2162BB78EC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8" name="Freeform 59">
              <a:extLst>
                <a:ext uri="{FF2B5EF4-FFF2-40B4-BE49-F238E27FC236}">
                  <a16:creationId xmlns:a16="http://schemas.microsoft.com/office/drawing/2014/main" id="{87AA0A80-577E-43A6-B738-0BAFE7F7B4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9" name="Freeform 60">
              <a:extLst>
                <a:ext uri="{FF2B5EF4-FFF2-40B4-BE49-F238E27FC236}">
                  <a16:creationId xmlns:a16="http://schemas.microsoft.com/office/drawing/2014/main" id="{3DBFF628-46A4-41BD-9FA9-3D4418E866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0" name="Freeform 61">
              <a:extLst>
                <a:ext uri="{FF2B5EF4-FFF2-40B4-BE49-F238E27FC236}">
                  <a16:creationId xmlns:a16="http://schemas.microsoft.com/office/drawing/2014/main" id="{D6413240-42B4-45DB-BBA2-56A1CDBD3C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1" name="Freeform 62">
              <a:extLst>
                <a:ext uri="{FF2B5EF4-FFF2-40B4-BE49-F238E27FC236}">
                  <a16:creationId xmlns:a16="http://schemas.microsoft.com/office/drawing/2014/main" id="{8AAB2B20-3978-4858-9836-C1351201A6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</p:grp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54420FA1-8DAE-4658-86CF-B5658CDC24E1}"/>
              </a:ext>
            </a:extLst>
          </p:cNvPr>
          <p:cNvSpPr/>
          <p:nvPr userDrawn="1"/>
        </p:nvSpPr>
        <p:spPr>
          <a:xfrm>
            <a:off x="6272240" y="1030147"/>
            <a:ext cx="5919758" cy="5825419"/>
          </a:xfrm>
          <a:custGeom>
            <a:avLst/>
            <a:gdLst>
              <a:gd name="connsiteX0" fmla="*/ 5919758 w 5919758"/>
              <a:gd name="connsiteY0" fmla="*/ 0 h 5825419"/>
              <a:gd name="connsiteX1" fmla="*/ 5919758 w 5919758"/>
              <a:gd name="connsiteY1" fmla="*/ 5825419 h 5825419"/>
              <a:gd name="connsiteX2" fmla="*/ 1120273 w 5919758"/>
              <a:gd name="connsiteY2" fmla="*/ 5825419 h 5825419"/>
              <a:gd name="connsiteX3" fmla="*/ 0 w 5919758"/>
              <a:gd name="connsiteY3" fmla="*/ 1588036 h 582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9758" h="5825419">
                <a:moveTo>
                  <a:pt x="5919758" y="0"/>
                </a:moveTo>
                <a:lnTo>
                  <a:pt x="5919758" y="5825419"/>
                </a:lnTo>
                <a:lnTo>
                  <a:pt x="1120273" y="5825419"/>
                </a:lnTo>
                <a:lnTo>
                  <a:pt x="0" y="1588036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74019" t="-38771" r="-74019" b="-3877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4" name="Text Placeholder 140">
            <a:extLst>
              <a:ext uri="{FF2B5EF4-FFF2-40B4-BE49-F238E27FC236}">
                <a16:creationId xmlns:a16="http://schemas.microsoft.com/office/drawing/2014/main" id="{234B86AF-61C0-4BEF-AED9-AB6E104586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2" y="5394937"/>
            <a:ext cx="4772203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tx2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66" name="Text Placeholder 135">
            <a:extLst>
              <a:ext uri="{FF2B5EF4-FFF2-40B4-BE49-F238E27FC236}">
                <a16:creationId xmlns:a16="http://schemas.microsoft.com/office/drawing/2014/main" id="{51EC55AF-72F6-4B80-B565-E4736853BB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18014275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-Lear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890DF213-662F-4F0F-AF3A-12E90D6AB403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4772203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600"/>
              </a:spcAft>
              <a:buNone/>
              <a:defRPr sz="3800" b="1">
                <a:solidFill>
                  <a:schemeClr val="tx2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70" name="Group 4">
            <a:extLst>
              <a:ext uri="{FF2B5EF4-FFF2-40B4-BE49-F238E27FC236}">
                <a16:creationId xmlns:a16="http://schemas.microsoft.com/office/drawing/2014/main" id="{3AFBB0F5-5EB0-405F-9812-3F6111C207C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07255" y="616633"/>
            <a:ext cx="1440000" cy="1443689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72" name="AutoShape 3">
              <a:extLst>
                <a:ext uri="{FF2B5EF4-FFF2-40B4-BE49-F238E27FC236}">
                  <a16:creationId xmlns:a16="http://schemas.microsoft.com/office/drawing/2014/main" id="{EE348DCA-F65E-472C-8E94-01A3FE818B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3" name="Rectangle 5">
              <a:extLst>
                <a:ext uri="{FF2B5EF4-FFF2-40B4-BE49-F238E27FC236}">
                  <a16:creationId xmlns:a16="http://schemas.microsoft.com/office/drawing/2014/main" id="{43ED83A1-CC4D-42EA-8ABE-37ED66A648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6" name="Freeform 6">
              <a:extLst>
                <a:ext uri="{FF2B5EF4-FFF2-40B4-BE49-F238E27FC236}">
                  <a16:creationId xmlns:a16="http://schemas.microsoft.com/office/drawing/2014/main" id="{C14D3AFF-4015-4ADB-AB21-B4EADD0CA3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7" name="Freeform 7">
              <a:extLst>
                <a:ext uri="{FF2B5EF4-FFF2-40B4-BE49-F238E27FC236}">
                  <a16:creationId xmlns:a16="http://schemas.microsoft.com/office/drawing/2014/main" id="{338B28A6-DBB6-499A-9175-D30CDBFB6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B4F42473-3AD2-48CF-9DF2-688A050792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4CFCC169-6EE2-4286-8FE4-D99450A443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0" name="Freeform 10">
              <a:extLst>
                <a:ext uri="{FF2B5EF4-FFF2-40B4-BE49-F238E27FC236}">
                  <a16:creationId xmlns:a16="http://schemas.microsoft.com/office/drawing/2014/main" id="{9D240A6C-65D8-4404-BD21-34BFC830B9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1" name="Freeform 11">
              <a:extLst>
                <a:ext uri="{FF2B5EF4-FFF2-40B4-BE49-F238E27FC236}">
                  <a16:creationId xmlns:a16="http://schemas.microsoft.com/office/drawing/2014/main" id="{D2693798-E801-4A01-899D-3526F4E679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2" name="Freeform 12">
              <a:extLst>
                <a:ext uri="{FF2B5EF4-FFF2-40B4-BE49-F238E27FC236}">
                  <a16:creationId xmlns:a16="http://schemas.microsoft.com/office/drawing/2014/main" id="{285079AC-870B-48A5-93B9-BCEBA2C149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3" name="Freeform 13">
              <a:extLst>
                <a:ext uri="{FF2B5EF4-FFF2-40B4-BE49-F238E27FC236}">
                  <a16:creationId xmlns:a16="http://schemas.microsoft.com/office/drawing/2014/main" id="{999F3F9A-C895-4189-8520-0793CCCD0B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4" name="Freeform 14">
              <a:extLst>
                <a:ext uri="{FF2B5EF4-FFF2-40B4-BE49-F238E27FC236}">
                  <a16:creationId xmlns:a16="http://schemas.microsoft.com/office/drawing/2014/main" id="{5161D696-7B40-4240-8A0E-23B94BADBC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5" name="Freeform 15">
              <a:extLst>
                <a:ext uri="{FF2B5EF4-FFF2-40B4-BE49-F238E27FC236}">
                  <a16:creationId xmlns:a16="http://schemas.microsoft.com/office/drawing/2014/main" id="{4C75893E-D358-44AC-A3CF-2EED9778A4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6" name="Freeform 16">
              <a:extLst>
                <a:ext uri="{FF2B5EF4-FFF2-40B4-BE49-F238E27FC236}">
                  <a16:creationId xmlns:a16="http://schemas.microsoft.com/office/drawing/2014/main" id="{7637E8F0-D81C-476F-8F8E-D9920CB899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7" name="Freeform 17">
              <a:extLst>
                <a:ext uri="{FF2B5EF4-FFF2-40B4-BE49-F238E27FC236}">
                  <a16:creationId xmlns:a16="http://schemas.microsoft.com/office/drawing/2014/main" id="{871A423F-334B-41DD-AB12-69F4222E2B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8" name="Freeform 18">
              <a:extLst>
                <a:ext uri="{FF2B5EF4-FFF2-40B4-BE49-F238E27FC236}">
                  <a16:creationId xmlns:a16="http://schemas.microsoft.com/office/drawing/2014/main" id="{F58C111E-E1E0-495A-B19E-19C23BC04A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9" name="Freeform 19">
              <a:extLst>
                <a:ext uri="{FF2B5EF4-FFF2-40B4-BE49-F238E27FC236}">
                  <a16:creationId xmlns:a16="http://schemas.microsoft.com/office/drawing/2014/main" id="{C13C60D4-33A1-4116-A310-C2D5DDC4EE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0" name="Freeform 20">
              <a:extLst>
                <a:ext uri="{FF2B5EF4-FFF2-40B4-BE49-F238E27FC236}">
                  <a16:creationId xmlns:a16="http://schemas.microsoft.com/office/drawing/2014/main" id="{A48538EB-0D4D-49B9-BDCF-9D922353F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1" name="Rectangle 21">
              <a:extLst>
                <a:ext uri="{FF2B5EF4-FFF2-40B4-BE49-F238E27FC236}">
                  <a16:creationId xmlns:a16="http://schemas.microsoft.com/office/drawing/2014/main" id="{1487FAD7-88D3-4A87-99A7-7B072B555F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2" name="Freeform 22">
              <a:extLst>
                <a:ext uri="{FF2B5EF4-FFF2-40B4-BE49-F238E27FC236}">
                  <a16:creationId xmlns:a16="http://schemas.microsoft.com/office/drawing/2014/main" id="{8914B577-98F3-43EF-BC4A-E7588E200C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3" name="Freeform 23">
              <a:extLst>
                <a:ext uri="{FF2B5EF4-FFF2-40B4-BE49-F238E27FC236}">
                  <a16:creationId xmlns:a16="http://schemas.microsoft.com/office/drawing/2014/main" id="{B5308D54-22FE-4DA7-BC01-ED460072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4" name="Freeform 24">
              <a:extLst>
                <a:ext uri="{FF2B5EF4-FFF2-40B4-BE49-F238E27FC236}">
                  <a16:creationId xmlns:a16="http://schemas.microsoft.com/office/drawing/2014/main" id="{3A60EE4F-D706-499A-8872-B156049D5B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5" name="Freeform 25">
              <a:extLst>
                <a:ext uri="{FF2B5EF4-FFF2-40B4-BE49-F238E27FC236}">
                  <a16:creationId xmlns:a16="http://schemas.microsoft.com/office/drawing/2014/main" id="{3EAF6B99-79B4-43B1-842F-B1AFF0CC1E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6" name="Freeform 26">
              <a:extLst>
                <a:ext uri="{FF2B5EF4-FFF2-40B4-BE49-F238E27FC236}">
                  <a16:creationId xmlns:a16="http://schemas.microsoft.com/office/drawing/2014/main" id="{6C79F926-94C7-4522-9614-397593F62E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7" name="Freeform 27">
              <a:extLst>
                <a:ext uri="{FF2B5EF4-FFF2-40B4-BE49-F238E27FC236}">
                  <a16:creationId xmlns:a16="http://schemas.microsoft.com/office/drawing/2014/main" id="{FDD151CA-6BF4-4036-98ED-05B831B530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8" name="Freeform 28">
              <a:extLst>
                <a:ext uri="{FF2B5EF4-FFF2-40B4-BE49-F238E27FC236}">
                  <a16:creationId xmlns:a16="http://schemas.microsoft.com/office/drawing/2014/main" id="{AB448DEB-E490-4038-8414-1A68B9109C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524059C3-D356-4C34-9C06-DD896588BF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247D07C2-EC7B-4730-92FA-6B8D84B80D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5D6F08FA-2532-4558-9602-AF1744F99F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E685EBE7-869E-41B0-BCD8-FF537CBD5C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3" name="Freeform 34">
              <a:extLst>
                <a:ext uri="{FF2B5EF4-FFF2-40B4-BE49-F238E27FC236}">
                  <a16:creationId xmlns:a16="http://schemas.microsoft.com/office/drawing/2014/main" id="{C3AB8B41-7BD9-44AA-B986-74D53C9AF3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4" name="Freeform 35">
              <a:extLst>
                <a:ext uri="{FF2B5EF4-FFF2-40B4-BE49-F238E27FC236}">
                  <a16:creationId xmlns:a16="http://schemas.microsoft.com/office/drawing/2014/main" id="{EDE8817E-73C2-4561-8428-03CCAFF40C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5" name="Freeform 36">
              <a:extLst>
                <a:ext uri="{FF2B5EF4-FFF2-40B4-BE49-F238E27FC236}">
                  <a16:creationId xmlns:a16="http://schemas.microsoft.com/office/drawing/2014/main" id="{AF8224B5-9A1C-4DFC-9A81-E5FD62FB56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6" name="Freeform 37">
              <a:extLst>
                <a:ext uri="{FF2B5EF4-FFF2-40B4-BE49-F238E27FC236}">
                  <a16:creationId xmlns:a16="http://schemas.microsoft.com/office/drawing/2014/main" id="{1C2A9587-67A6-4716-977B-862BFA82E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7" name="Freeform 38">
              <a:extLst>
                <a:ext uri="{FF2B5EF4-FFF2-40B4-BE49-F238E27FC236}">
                  <a16:creationId xmlns:a16="http://schemas.microsoft.com/office/drawing/2014/main" id="{495A0897-65A5-4410-A4A7-BD794D83C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8" name="Freeform 39">
              <a:extLst>
                <a:ext uri="{FF2B5EF4-FFF2-40B4-BE49-F238E27FC236}">
                  <a16:creationId xmlns:a16="http://schemas.microsoft.com/office/drawing/2014/main" id="{7E97296E-EB49-46E9-8E93-4AA5F3E541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9" name="Freeform 40">
              <a:extLst>
                <a:ext uri="{FF2B5EF4-FFF2-40B4-BE49-F238E27FC236}">
                  <a16:creationId xmlns:a16="http://schemas.microsoft.com/office/drawing/2014/main" id="{2F3461FC-DD4F-4CA4-B2A8-7F4F566F61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0" name="Freeform 41">
              <a:extLst>
                <a:ext uri="{FF2B5EF4-FFF2-40B4-BE49-F238E27FC236}">
                  <a16:creationId xmlns:a16="http://schemas.microsoft.com/office/drawing/2014/main" id="{8908A0F4-A93F-4BE5-8463-B36A8039B5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1" name="Freeform 42">
              <a:extLst>
                <a:ext uri="{FF2B5EF4-FFF2-40B4-BE49-F238E27FC236}">
                  <a16:creationId xmlns:a16="http://schemas.microsoft.com/office/drawing/2014/main" id="{24D30A92-E7FF-424A-B0A9-AC7FE32E77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2" name="Freeform 43">
              <a:extLst>
                <a:ext uri="{FF2B5EF4-FFF2-40B4-BE49-F238E27FC236}">
                  <a16:creationId xmlns:a16="http://schemas.microsoft.com/office/drawing/2014/main" id="{B2A95380-ABEE-40CA-BBE5-1E3411D8CD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3" name="Freeform 44">
              <a:extLst>
                <a:ext uri="{FF2B5EF4-FFF2-40B4-BE49-F238E27FC236}">
                  <a16:creationId xmlns:a16="http://schemas.microsoft.com/office/drawing/2014/main" id="{25364CF1-47E1-42AA-B408-1241E63E8C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4" name="Freeform 45">
              <a:extLst>
                <a:ext uri="{FF2B5EF4-FFF2-40B4-BE49-F238E27FC236}">
                  <a16:creationId xmlns:a16="http://schemas.microsoft.com/office/drawing/2014/main" id="{722A9A6F-E73A-4E34-A53F-A559E043C3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5" name="Freeform 46">
              <a:extLst>
                <a:ext uri="{FF2B5EF4-FFF2-40B4-BE49-F238E27FC236}">
                  <a16:creationId xmlns:a16="http://schemas.microsoft.com/office/drawing/2014/main" id="{7DC776F1-D1BF-4756-9B11-A3922DD28A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6" name="Freeform 47">
              <a:extLst>
                <a:ext uri="{FF2B5EF4-FFF2-40B4-BE49-F238E27FC236}">
                  <a16:creationId xmlns:a16="http://schemas.microsoft.com/office/drawing/2014/main" id="{F702349C-C6E4-46A5-8802-BB88DD4BE2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7" name="Freeform 48">
              <a:extLst>
                <a:ext uri="{FF2B5EF4-FFF2-40B4-BE49-F238E27FC236}">
                  <a16:creationId xmlns:a16="http://schemas.microsoft.com/office/drawing/2014/main" id="{346BC6D5-9E5A-4B92-9611-F9D07EF485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8" name="Freeform 49">
              <a:extLst>
                <a:ext uri="{FF2B5EF4-FFF2-40B4-BE49-F238E27FC236}">
                  <a16:creationId xmlns:a16="http://schemas.microsoft.com/office/drawing/2014/main" id="{2A9DF814-73D8-4894-8B96-23B40E6E90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9" name="Freeform 50">
              <a:extLst>
                <a:ext uri="{FF2B5EF4-FFF2-40B4-BE49-F238E27FC236}">
                  <a16:creationId xmlns:a16="http://schemas.microsoft.com/office/drawing/2014/main" id="{58C1703B-88EC-4C9F-B827-837D126B61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0" name="Freeform 51">
              <a:extLst>
                <a:ext uri="{FF2B5EF4-FFF2-40B4-BE49-F238E27FC236}">
                  <a16:creationId xmlns:a16="http://schemas.microsoft.com/office/drawing/2014/main" id="{7589E396-ADCF-4596-8DE4-4379AFCE7E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1" name="Freeform 52">
              <a:extLst>
                <a:ext uri="{FF2B5EF4-FFF2-40B4-BE49-F238E27FC236}">
                  <a16:creationId xmlns:a16="http://schemas.microsoft.com/office/drawing/2014/main" id="{C49FDA79-CF20-4CA4-9EC3-273E88B10C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2" name="Freeform 53">
              <a:extLst>
                <a:ext uri="{FF2B5EF4-FFF2-40B4-BE49-F238E27FC236}">
                  <a16:creationId xmlns:a16="http://schemas.microsoft.com/office/drawing/2014/main" id="{EAF66CB7-8F32-4F0C-B5A2-11A6143DA7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3" name="Freeform 54">
              <a:extLst>
                <a:ext uri="{FF2B5EF4-FFF2-40B4-BE49-F238E27FC236}">
                  <a16:creationId xmlns:a16="http://schemas.microsoft.com/office/drawing/2014/main" id="{DD4F44F0-927E-4351-9C37-2EE63B71F0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4" name="Freeform 55">
              <a:extLst>
                <a:ext uri="{FF2B5EF4-FFF2-40B4-BE49-F238E27FC236}">
                  <a16:creationId xmlns:a16="http://schemas.microsoft.com/office/drawing/2014/main" id="{92AC303A-678D-4707-A16F-2DA1A07D9D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5" name="Freeform 56">
              <a:extLst>
                <a:ext uri="{FF2B5EF4-FFF2-40B4-BE49-F238E27FC236}">
                  <a16:creationId xmlns:a16="http://schemas.microsoft.com/office/drawing/2014/main" id="{4BCFC9F6-3BBE-4394-851E-3738C7D6EB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6" name="Freeform 57">
              <a:extLst>
                <a:ext uri="{FF2B5EF4-FFF2-40B4-BE49-F238E27FC236}">
                  <a16:creationId xmlns:a16="http://schemas.microsoft.com/office/drawing/2014/main" id="{D4997C90-4986-45C1-9DAC-A5D26B02F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7" name="Freeform 58">
              <a:extLst>
                <a:ext uri="{FF2B5EF4-FFF2-40B4-BE49-F238E27FC236}">
                  <a16:creationId xmlns:a16="http://schemas.microsoft.com/office/drawing/2014/main" id="{ACC13E25-4EE3-4A63-B0AF-2162BB78EC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8" name="Freeform 59">
              <a:extLst>
                <a:ext uri="{FF2B5EF4-FFF2-40B4-BE49-F238E27FC236}">
                  <a16:creationId xmlns:a16="http://schemas.microsoft.com/office/drawing/2014/main" id="{87AA0A80-577E-43A6-B738-0BAFE7F7B4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9" name="Freeform 60">
              <a:extLst>
                <a:ext uri="{FF2B5EF4-FFF2-40B4-BE49-F238E27FC236}">
                  <a16:creationId xmlns:a16="http://schemas.microsoft.com/office/drawing/2014/main" id="{3DBFF628-46A4-41BD-9FA9-3D4418E866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0" name="Freeform 61">
              <a:extLst>
                <a:ext uri="{FF2B5EF4-FFF2-40B4-BE49-F238E27FC236}">
                  <a16:creationId xmlns:a16="http://schemas.microsoft.com/office/drawing/2014/main" id="{D6413240-42B4-45DB-BBA2-56A1CDBD3C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1" name="Freeform 62">
              <a:extLst>
                <a:ext uri="{FF2B5EF4-FFF2-40B4-BE49-F238E27FC236}">
                  <a16:creationId xmlns:a16="http://schemas.microsoft.com/office/drawing/2014/main" id="{8AAB2B20-3978-4858-9836-C1351201A6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</p:grp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C8A16490-7A25-479D-8887-224357329F51}"/>
              </a:ext>
            </a:extLst>
          </p:cNvPr>
          <p:cNvSpPr/>
          <p:nvPr userDrawn="1"/>
        </p:nvSpPr>
        <p:spPr>
          <a:xfrm>
            <a:off x="6272240" y="1030147"/>
            <a:ext cx="5919758" cy="5825419"/>
          </a:xfrm>
          <a:custGeom>
            <a:avLst/>
            <a:gdLst>
              <a:gd name="connsiteX0" fmla="*/ 5919758 w 5919758"/>
              <a:gd name="connsiteY0" fmla="*/ 0 h 5825419"/>
              <a:gd name="connsiteX1" fmla="*/ 5919758 w 5919758"/>
              <a:gd name="connsiteY1" fmla="*/ 5825419 h 5825419"/>
              <a:gd name="connsiteX2" fmla="*/ 1120273 w 5919758"/>
              <a:gd name="connsiteY2" fmla="*/ 5825419 h 5825419"/>
              <a:gd name="connsiteX3" fmla="*/ 0 w 5919758"/>
              <a:gd name="connsiteY3" fmla="*/ 1588036 h 582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9758" h="5825419">
                <a:moveTo>
                  <a:pt x="5919758" y="0"/>
                </a:moveTo>
                <a:lnTo>
                  <a:pt x="5919758" y="5825419"/>
                </a:lnTo>
                <a:lnTo>
                  <a:pt x="1120273" y="5825419"/>
                </a:lnTo>
                <a:lnTo>
                  <a:pt x="0" y="1588036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74019" t="-38771" r="-74019" b="-3877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3" name="Text Placeholder 140">
            <a:extLst>
              <a:ext uri="{FF2B5EF4-FFF2-40B4-BE49-F238E27FC236}">
                <a16:creationId xmlns:a16="http://schemas.microsoft.com/office/drawing/2014/main" id="{E5F69457-834C-4B3E-AF4C-CDBC7D6FC8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2" y="5394937"/>
            <a:ext cx="4772203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tx2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66" name="Text Placeholder 135">
            <a:extLst>
              <a:ext uri="{FF2B5EF4-FFF2-40B4-BE49-F238E27FC236}">
                <a16:creationId xmlns:a16="http://schemas.microsoft.com/office/drawing/2014/main" id="{AC135A83-4349-4D19-A851-56FC171B94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25798071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-Mov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890DF213-662F-4F0F-AF3A-12E90D6AB403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4772203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600"/>
              </a:spcAft>
              <a:buNone/>
              <a:defRPr sz="3800" b="1">
                <a:solidFill>
                  <a:schemeClr val="tx2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70" name="Group 4">
            <a:extLst>
              <a:ext uri="{FF2B5EF4-FFF2-40B4-BE49-F238E27FC236}">
                <a16:creationId xmlns:a16="http://schemas.microsoft.com/office/drawing/2014/main" id="{3AFBB0F5-5EB0-405F-9812-3F6111C207C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07255" y="616633"/>
            <a:ext cx="1440000" cy="1443689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72" name="AutoShape 3">
              <a:extLst>
                <a:ext uri="{FF2B5EF4-FFF2-40B4-BE49-F238E27FC236}">
                  <a16:creationId xmlns:a16="http://schemas.microsoft.com/office/drawing/2014/main" id="{EE348DCA-F65E-472C-8E94-01A3FE818B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3" name="Rectangle 5">
              <a:extLst>
                <a:ext uri="{FF2B5EF4-FFF2-40B4-BE49-F238E27FC236}">
                  <a16:creationId xmlns:a16="http://schemas.microsoft.com/office/drawing/2014/main" id="{43ED83A1-CC4D-42EA-8ABE-37ED66A648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6" name="Freeform 6">
              <a:extLst>
                <a:ext uri="{FF2B5EF4-FFF2-40B4-BE49-F238E27FC236}">
                  <a16:creationId xmlns:a16="http://schemas.microsoft.com/office/drawing/2014/main" id="{C14D3AFF-4015-4ADB-AB21-B4EADD0CA3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7" name="Freeform 7">
              <a:extLst>
                <a:ext uri="{FF2B5EF4-FFF2-40B4-BE49-F238E27FC236}">
                  <a16:creationId xmlns:a16="http://schemas.microsoft.com/office/drawing/2014/main" id="{338B28A6-DBB6-499A-9175-D30CDBFB6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B4F42473-3AD2-48CF-9DF2-688A050792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4CFCC169-6EE2-4286-8FE4-D99450A443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0" name="Freeform 10">
              <a:extLst>
                <a:ext uri="{FF2B5EF4-FFF2-40B4-BE49-F238E27FC236}">
                  <a16:creationId xmlns:a16="http://schemas.microsoft.com/office/drawing/2014/main" id="{9D240A6C-65D8-4404-BD21-34BFC830B9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1" name="Freeform 11">
              <a:extLst>
                <a:ext uri="{FF2B5EF4-FFF2-40B4-BE49-F238E27FC236}">
                  <a16:creationId xmlns:a16="http://schemas.microsoft.com/office/drawing/2014/main" id="{D2693798-E801-4A01-899D-3526F4E679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2" name="Freeform 12">
              <a:extLst>
                <a:ext uri="{FF2B5EF4-FFF2-40B4-BE49-F238E27FC236}">
                  <a16:creationId xmlns:a16="http://schemas.microsoft.com/office/drawing/2014/main" id="{285079AC-870B-48A5-93B9-BCEBA2C149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3" name="Freeform 13">
              <a:extLst>
                <a:ext uri="{FF2B5EF4-FFF2-40B4-BE49-F238E27FC236}">
                  <a16:creationId xmlns:a16="http://schemas.microsoft.com/office/drawing/2014/main" id="{999F3F9A-C895-4189-8520-0793CCCD0B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4" name="Freeform 14">
              <a:extLst>
                <a:ext uri="{FF2B5EF4-FFF2-40B4-BE49-F238E27FC236}">
                  <a16:creationId xmlns:a16="http://schemas.microsoft.com/office/drawing/2014/main" id="{5161D696-7B40-4240-8A0E-23B94BADBC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5" name="Freeform 15">
              <a:extLst>
                <a:ext uri="{FF2B5EF4-FFF2-40B4-BE49-F238E27FC236}">
                  <a16:creationId xmlns:a16="http://schemas.microsoft.com/office/drawing/2014/main" id="{4C75893E-D358-44AC-A3CF-2EED9778A4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6" name="Freeform 16">
              <a:extLst>
                <a:ext uri="{FF2B5EF4-FFF2-40B4-BE49-F238E27FC236}">
                  <a16:creationId xmlns:a16="http://schemas.microsoft.com/office/drawing/2014/main" id="{7637E8F0-D81C-476F-8F8E-D9920CB899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7" name="Freeform 17">
              <a:extLst>
                <a:ext uri="{FF2B5EF4-FFF2-40B4-BE49-F238E27FC236}">
                  <a16:creationId xmlns:a16="http://schemas.microsoft.com/office/drawing/2014/main" id="{871A423F-334B-41DD-AB12-69F4222E2B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8" name="Freeform 18">
              <a:extLst>
                <a:ext uri="{FF2B5EF4-FFF2-40B4-BE49-F238E27FC236}">
                  <a16:creationId xmlns:a16="http://schemas.microsoft.com/office/drawing/2014/main" id="{F58C111E-E1E0-495A-B19E-19C23BC04A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9" name="Freeform 19">
              <a:extLst>
                <a:ext uri="{FF2B5EF4-FFF2-40B4-BE49-F238E27FC236}">
                  <a16:creationId xmlns:a16="http://schemas.microsoft.com/office/drawing/2014/main" id="{C13C60D4-33A1-4116-A310-C2D5DDC4EE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0" name="Freeform 20">
              <a:extLst>
                <a:ext uri="{FF2B5EF4-FFF2-40B4-BE49-F238E27FC236}">
                  <a16:creationId xmlns:a16="http://schemas.microsoft.com/office/drawing/2014/main" id="{A48538EB-0D4D-49B9-BDCF-9D922353F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1" name="Rectangle 21">
              <a:extLst>
                <a:ext uri="{FF2B5EF4-FFF2-40B4-BE49-F238E27FC236}">
                  <a16:creationId xmlns:a16="http://schemas.microsoft.com/office/drawing/2014/main" id="{1487FAD7-88D3-4A87-99A7-7B072B555F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2" name="Freeform 22">
              <a:extLst>
                <a:ext uri="{FF2B5EF4-FFF2-40B4-BE49-F238E27FC236}">
                  <a16:creationId xmlns:a16="http://schemas.microsoft.com/office/drawing/2014/main" id="{8914B577-98F3-43EF-BC4A-E7588E200C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3" name="Freeform 23">
              <a:extLst>
                <a:ext uri="{FF2B5EF4-FFF2-40B4-BE49-F238E27FC236}">
                  <a16:creationId xmlns:a16="http://schemas.microsoft.com/office/drawing/2014/main" id="{B5308D54-22FE-4DA7-BC01-ED460072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4" name="Freeform 24">
              <a:extLst>
                <a:ext uri="{FF2B5EF4-FFF2-40B4-BE49-F238E27FC236}">
                  <a16:creationId xmlns:a16="http://schemas.microsoft.com/office/drawing/2014/main" id="{3A60EE4F-D706-499A-8872-B156049D5B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5" name="Freeform 25">
              <a:extLst>
                <a:ext uri="{FF2B5EF4-FFF2-40B4-BE49-F238E27FC236}">
                  <a16:creationId xmlns:a16="http://schemas.microsoft.com/office/drawing/2014/main" id="{3EAF6B99-79B4-43B1-842F-B1AFF0CC1E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6" name="Freeform 26">
              <a:extLst>
                <a:ext uri="{FF2B5EF4-FFF2-40B4-BE49-F238E27FC236}">
                  <a16:creationId xmlns:a16="http://schemas.microsoft.com/office/drawing/2014/main" id="{6C79F926-94C7-4522-9614-397593F62E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7" name="Freeform 27">
              <a:extLst>
                <a:ext uri="{FF2B5EF4-FFF2-40B4-BE49-F238E27FC236}">
                  <a16:creationId xmlns:a16="http://schemas.microsoft.com/office/drawing/2014/main" id="{FDD151CA-6BF4-4036-98ED-05B831B530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8" name="Freeform 28">
              <a:extLst>
                <a:ext uri="{FF2B5EF4-FFF2-40B4-BE49-F238E27FC236}">
                  <a16:creationId xmlns:a16="http://schemas.microsoft.com/office/drawing/2014/main" id="{AB448DEB-E490-4038-8414-1A68B9109C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524059C3-D356-4C34-9C06-DD896588BF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247D07C2-EC7B-4730-92FA-6B8D84B80D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5D6F08FA-2532-4558-9602-AF1744F99F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E685EBE7-869E-41B0-BCD8-FF537CBD5C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3" name="Freeform 34">
              <a:extLst>
                <a:ext uri="{FF2B5EF4-FFF2-40B4-BE49-F238E27FC236}">
                  <a16:creationId xmlns:a16="http://schemas.microsoft.com/office/drawing/2014/main" id="{C3AB8B41-7BD9-44AA-B986-74D53C9AF3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4" name="Freeform 35">
              <a:extLst>
                <a:ext uri="{FF2B5EF4-FFF2-40B4-BE49-F238E27FC236}">
                  <a16:creationId xmlns:a16="http://schemas.microsoft.com/office/drawing/2014/main" id="{EDE8817E-73C2-4561-8428-03CCAFF40C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5" name="Freeform 36">
              <a:extLst>
                <a:ext uri="{FF2B5EF4-FFF2-40B4-BE49-F238E27FC236}">
                  <a16:creationId xmlns:a16="http://schemas.microsoft.com/office/drawing/2014/main" id="{AF8224B5-9A1C-4DFC-9A81-E5FD62FB56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6" name="Freeform 37">
              <a:extLst>
                <a:ext uri="{FF2B5EF4-FFF2-40B4-BE49-F238E27FC236}">
                  <a16:creationId xmlns:a16="http://schemas.microsoft.com/office/drawing/2014/main" id="{1C2A9587-67A6-4716-977B-862BFA82E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7" name="Freeform 38">
              <a:extLst>
                <a:ext uri="{FF2B5EF4-FFF2-40B4-BE49-F238E27FC236}">
                  <a16:creationId xmlns:a16="http://schemas.microsoft.com/office/drawing/2014/main" id="{495A0897-65A5-4410-A4A7-BD794D83C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8" name="Freeform 39">
              <a:extLst>
                <a:ext uri="{FF2B5EF4-FFF2-40B4-BE49-F238E27FC236}">
                  <a16:creationId xmlns:a16="http://schemas.microsoft.com/office/drawing/2014/main" id="{7E97296E-EB49-46E9-8E93-4AA5F3E541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9" name="Freeform 40">
              <a:extLst>
                <a:ext uri="{FF2B5EF4-FFF2-40B4-BE49-F238E27FC236}">
                  <a16:creationId xmlns:a16="http://schemas.microsoft.com/office/drawing/2014/main" id="{2F3461FC-DD4F-4CA4-B2A8-7F4F566F61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0" name="Freeform 41">
              <a:extLst>
                <a:ext uri="{FF2B5EF4-FFF2-40B4-BE49-F238E27FC236}">
                  <a16:creationId xmlns:a16="http://schemas.microsoft.com/office/drawing/2014/main" id="{8908A0F4-A93F-4BE5-8463-B36A8039B5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1" name="Freeform 42">
              <a:extLst>
                <a:ext uri="{FF2B5EF4-FFF2-40B4-BE49-F238E27FC236}">
                  <a16:creationId xmlns:a16="http://schemas.microsoft.com/office/drawing/2014/main" id="{24D30A92-E7FF-424A-B0A9-AC7FE32E77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2" name="Freeform 43">
              <a:extLst>
                <a:ext uri="{FF2B5EF4-FFF2-40B4-BE49-F238E27FC236}">
                  <a16:creationId xmlns:a16="http://schemas.microsoft.com/office/drawing/2014/main" id="{B2A95380-ABEE-40CA-BBE5-1E3411D8CD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3" name="Freeform 44">
              <a:extLst>
                <a:ext uri="{FF2B5EF4-FFF2-40B4-BE49-F238E27FC236}">
                  <a16:creationId xmlns:a16="http://schemas.microsoft.com/office/drawing/2014/main" id="{25364CF1-47E1-42AA-B408-1241E63E8C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4" name="Freeform 45">
              <a:extLst>
                <a:ext uri="{FF2B5EF4-FFF2-40B4-BE49-F238E27FC236}">
                  <a16:creationId xmlns:a16="http://schemas.microsoft.com/office/drawing/2014/main" id="{722A9A6F-E73A-4E34-A53F-A559E043C3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5" name="Freeform 46">
              <a:extLst>
                <a:ext uri="{FF2B5EF4-FFF2-40B4-BE49-F238E27FC236}">
                  <a16:creationId xmlns:a16="http://schemas.microsoft.com/office/drawing/2014/main" id="{7DC776F1-D1BF-4756-9B11-A3922DD28A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6" name="Freeform 47">
              <a:extLst>
                <a:ext uri="{FF2B5EF4-FFF2-40B4-BE49-F238E27FC236}">
                  <a16:creationId xmlns:a16="http://schemas.microsoft.com/office/drawing/2014/main" id="{F702349C-C6E4-46A5-8802-BB88DD4BE2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7" name="Freeform 48">
              <a:extLst>
                <a:ext uri="{FF2B5EF4-FFF2-40B4-BE49-F238E27FC236}">
                  <a16:creationId xmlns:a16="http://schemas.microsoft.com/office/drawing/2014/main" id="{346BC6D5-9E5A-4B92-9611-F9D07EF485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8" name="Freeform 49">
              <a:extLst>
                <a:ext uri="{FF2B5EF4-FFF2-40B4-BE49-F238E27FC236}">
                  <a16:creationId xmlns:a16="http://schemas.microsoft.com/office/drawing/2014/main" id="{2A9DF814-73D8-4894-8B96-23B40E6E90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9" name="Freeform 50">
              <a:extLst>
                <a:ext uri="{FF2B5EF4-FFF2-40B4-BE49-F238E27FC236}">
                  <a16:creationId xmlns:a16="http://schemas.microsoft.com/office/drawing/2014/main" id="{58C1703B-88EC-4C9F-B827-837D126B61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0" name="Freeform 51">
              <a:extLst>
                <a:ext uri="{FF2B5EF4-FFF2-40B4-BE49-F238E27FC236}">
                  <a16:creationId xmlns:a16="http://schemas.microsoft.com/office/drawing/2014/main" id="{7589E396-ADCF-4596-8DE4-4379AFCE7E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1" name="Freeform 52">
              <a:extLst>
                <a:ext uri="{FF2B5EF4-FFF2-40B4-BE49-F238E27FC236}">
                  <a16:creationId xmlns:a16="http://schemas.microsoft.com/office/drawing/2014/main" id="{C49FDA79-CF20-4CA4-9EC3-273E88B10C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2" name="Freeform 53">
              <a:extLst>
                <a:ext uri="{FF2B5EF4-FFF2-40B4-BE49-F238E27FC236}">
                  <a16:creationId xmlns:a16="http://schemas.microsoft.com/office/drawing/2014/main" id="{EAF66CB7-8F32-4F0C-B5A2-11A6143DA7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3" name="Freeform 54">
              <a:extLst>
                <a:ext uri="{FF2B5EF4-FFF2-40B4-BE49-F238E27FC236}">
                  <a16:creationId xmlns:a16="http://schemas.microsoft.com/office/drawing/2014/main" id="{DD4F44F0-927E-4351-9C37-2EE63B71F0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4" name="Freeform 55">
              <a:extLst>
                <a:ext uri="{FF2B5EF4-FFF2-40B4-BE49-F238E27FC236}">
                  <a16:creationId xmlns:a16="http://schemas.microsoft.com/office/drawing/2014/main" id="{92AC303A-678D-4707-A16F-2DA1A07D9D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5" name="Freeform 56">
              <a:extLst>
                <a:ext uri="{FF2B5EF4-FFF2-40B4-BE49-F238E27FC236}">
                  <a16:creationId xmlns:a16="http://schemas.microsoft.com/office/drawing/2014/main" id="{4BCFC9F6-3BBE-4394-851E-3738C7D6EB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6" name="Freeform 57">
              <a:extLst>
                <a:ext uri="{FF2B5EF4-FFF2-40B4-BE49-F238E27FC236}">
                  <a16:creationId xmlns:a16="http://schemas.microsoft.com/office/drawing/2014/main" id="{D4997C90-4986-45C1-9DAC-A5D26B02F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7" name="Freeform 58">
              <a:extLst>
                <a:ext uri="{FF2B5EF4-FFF2-40B4-BE49-F238E27FC236}">
                  <a16:creationId xmlns:a16="http://schemas.microsoft.com/office/drawing/2014/main" id="{ACC13E25-4EE3-4A63-B0AF-2162BB78EC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8" name="Freeform 59">
              <a:extLst>
                <a:ext uri="{FF2B5EF4-FFF2-40B4-BE49-F238E27FC236}">
                  <a16:creationId xmlns:a16="http://schemas.microsoft.com/office/drawing/2014/main" id="{87AA0A80-577E-43A6-B738-0BAFE7F7B4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9" name="Freeform 60">
              <a:extLst>
                <a:ext uri="{FF2B5EF4-FFF2-40B4-BE49-F238E27FC236}">
                  <a16:creationId xmlns:a16="http://schemas.microsoft.com/office/drawing/2014/main" id="{3DBFF628-46A4-41BD-9FA9-3D4418E866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0" name="Freeform 61">
              <a:extLst>
                <a:ext uri="{FF2B5EF4-FFF2-40B4-BE49-F238E27FC236}">
                  <a16:creationId xmlns:a16="http://schemas.microsoft.com/office/drawing/2014/main" id="{D6413240-42B4-45DB-BBA2-56A1CDBD3C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1" name="Freeform 62">
              <a:extLst>
                <a:ext uri="{FF2B5EF4-FFF2-40B4-BE49-F238E27FC236}">
                  <a16:creationId xmlns:a16="http://schemas.microsoft.com/office/drawing/2014/main" id="{8AAB2B20-3978-4858-9836-C1351201A6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</p:grp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EABDE6FE-819A-4678-A6E8-009E38A1A568}"/>
              </a:ext>
            </a:extLst>
          </p:cNvPr>
          <p:cNvSpPr/>
          <p:nvPr userDrawn="1"/>
        </p:nvSpPr>
        <p:spPr>
          <a:xfrm>
            <a:off x="6272240" y="1030147"/>
            <a:ext cx="5919758" cy="5825419"/>
          </a:xfrm>
          <a:custGeom>
            <a:avLst/>
            <a:gdLst>
              <a:gd name="connsiteX0" fmla="*/ 5919758 w 5919758"/>
              <a:gd name="connsiteY0" fmla="*/ 0 h 5825419"/>
              <a:gd name="connsiteX1" fmla="*/ 5919758 w 5919758"/>
              <a:gd name="connsiteY1" fmla="*/ 5825419 h 5825419"/>
              <a:gd name="connsiteX2" fmla="*/ 1120273 w 5919758"/>
              <a:gd name="connsiteY2" fmla="*/ 5825419 h 5825419"/>
              <a:gd name="connsiteX3" fmla="*/ 0 w 5919758"/>
              <a:gd name="connsiteY3" fmla="*/ 1588036 h 582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9758" h="5825419">
                <a:moveTo>
                  <a:pt x="5919758" y="0"/>
                </a:moveTo>
                <a:lnTo>
                  <a:pt x="5919758" y="5825419"/>
                </a:lnTo>
                <a:lnTo>
                  <a:pt x="1120273" y="5825419"/>
                </a:lnTo>
                <a:lnTo>
                  <a:pt x="0" y="1588036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34594" t="-16266" r="-34594" b="-1626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4" name="Text Placeholder 140">
            <a:extLst>
              <a:ext uri="{FF2B5EF4-FFF2-40B4-BE49-F238E27FC236}">
                <a16:creationId xmlns:a16="http://schemas.microsoft.com/office/drawing/2014/main" id="{FD7259D0-6B32-4DE1-8F13-A21A1C988B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2" y="5394937"/>
            <a:ext cx="4772203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tx2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66" name="Text Placeholder 135">
            <a:extLst>
              <a:ext uri="{FF2B5EF4-FFF2-40B4-BE49-F238E27FC236}">
                <a16:creationId xmlns:a16="http://schemas.microsoft.com/office/drawing/2014/main" id="{D42A6F0E-E106-4C5B-90DE-D6097D2850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11263184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C-Discov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890DF213-662F-4F0F-AF3A-12E90D6AB403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5999291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600"/>
              </a:spcAft>
              <a:buNone/>
              <a:defRPr sz="3800" b="1">
                <a:solidFill>
                  <a:schemeClr val="tx2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131" name="Group 4">
            <a:extLst>
              <a:ext uri="{FF2B5EF4-FFF2-40B4-BE49-F238E27FC236}">
                <a16:creationId xmlns:a16="http://schemas.microsoft.com/office/drawing/2014/main" id="{952F8D34-531B-4437-B768-1A058C4F580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07255" y="616633"/>
            <a:ext cx="1256780" cy="1260000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132" name="AutoShape 3">
              <a:extLst>
                <a:ext uri="{FF2B5EF4-FFF2-40B4-BE49-F238E27FC236}">
                  <a16:creationId xmlns:a16="http://schemas.microsoft.com/office/drawing/2014/main" id="{BBEC651D-9DEC-4A01-B480-D5E4B2FC290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3" name="Rectangle 5">
              <a:extLst>
                <a:ext uri="{FF2B5EF4-FFF2-40B4-BE49-F238E27FC236}">
                  <a16:creationId xmlns:a16="http://schemas.microsoft.com/office/drawing/2014/main" id="{8AC4D9D0-269C-4ACF-BF70-19CF3F874F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4" name="Freeform 6">
              <a:extLst>
                <a:ext uri="{FF2B5EF4-FFF2-40B4-BE49-F238E27FC236}">
                  <a16:creationId xmlns:a16="http://schemas.microsoft.com/office/drawing/2014/main" id="{78D091DD-3D29-4E85-A4F2-B1EF73815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5" name="Freeform 7">
              <a:extLst>
                <a:ext uri="{FF2B5EF4-FFF2-40B4-BE49-F238E27FC236}">
                  <a16:creationId xmlns:a16="http://schemas.microsoft.com/office/drawing/2014/main" id="{41F39217-4860-4557-92E4-3744C451F0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6" name="Freeform 8">
              <a:extLst>
                <a:ext uri="{FF2B5EF4-FFF2-40B4-BE49-F238E27FC236}">
                  <a16:creationId xmlns:a16="http://schemas.microsoft.com/office/drawing/2014/main" id="{E8E8E316-21E4-4CC2-ADF5-C4F81235C3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7" name="Freeform 9">
              <a:extLst>
                <a:ext uri="{FF2B5EF4-FFF2-40B4-BE49-F238E27FC236}">
                  <a16:creationId xmlns:a16="http://schemas.microsoft.com/office/drawing/2014/main" id="{1D3C1F05-2CE2-4C38-A4B0-481C61982A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8" name="Freeform 10">
              <a:extLst>
                <a:ext uri="{FF2B5EF4-FFF2-40B4-BE49-F238E27FC236}">
                  <a16:creationId xmlns:a16="http://schemas.microsoft.com/office/drawing/2014/main" id="{B93800B0-DBA3-4D0A-9F1B-C254419B35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9" name="Freeform 11">
              <a:extLst>
                <a:ext uri="{FF2B5EF4-FFF2-40B4-BE49-F238E27FC236}">
                  <a16:creationId xmlns:a16="http://schemas.microsoft.com/office/drawing/2014/main" id="{DA73D27E-D033-4C84-A492-8DAC896B6E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1" name="Freeform 12">
              <a:extLst>
                <a:ext uri="{FF2B5EF4-FFF2-40B4-BE49-F238E27FC236}">
                  <a16:creationId xmlns:a16="http://schemas.microsoft.com/office/drawing/2014/main" id="{74F6F1BE-8465-4B37-9FA1-D0E1A2E48B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2" name="Freeform 13">
              <a:extLst>
                <a:ext uri="{FF2B5EF4-FFF2-40B4-BE49-F238E27FC236}">
                  <a16:creationId xmlns:a16="http://schemas.microsoft.com/office/drawing/2014/main" id="{9EE5749B-5072-41F9-A57E-284E0A6046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3" name="Freeform 14">
              <a:extLst>
                <a:ext uri="{FF2B5EF4-FFF2-40B4-BE49-F238E27FC236}">
                  <a16:creationId xmlns:a16="http://schemas.microsoft.com/office/drawing/2014/main" id="{2DBB559A-8AB1-47CF-9594-70FFFF07DF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EF6A068B-18BA-48B7-AC57-2231ED0F0A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5" name="Freeform 16">
              <a:extLst>
                <a:ext uri="{FF2B5EF4-FFF2-40B4-BE49-F238E27FC236}">
                  <a16:creationId xmlns:a16="http://schemas.microsoft.com/office/drawing/2014/main" id="{AF34F4D6-E742-4530-A1D5-8CBF297CF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6" name="Freeform 17">
              <a:extLst>
                <a:ext uri="{FF2B5EF4-FFF2-40B4-BE49-F238E27FC236}">
                  <a16:creationId xmlns:a16="http://schemas.microsoft.com/office/drawing/2014/main" id="{FAD1CA84-23AF-476C-9991-F757AE0651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7" name="Freeform 18">
              <a:extLst>
                <a:ext uri="{FF2B5EF4-FFF2-40B4-BE49-F238E27FC236}">
                  <a16:creationId xmlns:a16="http://schemas.microsoft.com/office/drawing/2014/main" id="{ACAEC108-E142-43B0-8B21-F856F93881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8" name="Freeform 19">
              <a:extLst>
                <a:ext uri="{FF2B5EF4-FFF2-40B4-BE49-F238E27FC236}">
                  <a16:creationId xmlns:a16="http://schemas.microsoft.com/office/drawing/2014/main" id="{C85C54C2-C1F3-4F46-AA95-330CA1FBCC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9" name="Freeform 20">
              <a:extLst>
                <a:ext uri="{FF2B5EF4-FFF2-40B4-BE49-F238E27FC236}">
                  <a16:creationId xmlns:a16="http://schemas.microsoft.com/office/drawing/2014/main" id="{DE512848-C980-40EA-8C56-CE3DC8433D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0" name="Rectangle 21">
              <a:extLst>
                <a:ext uri="{FF2B5EF4-FFF2-40B4-BE49-F238E27FC236}">
                  <a16:creationId xmlns:a16="http://schemas.microsoft.com/office/drawing/2014/main" id="{41E59601-BD60-43C2-A624-31E8A46608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1" name="Freeform 22">
              <a:extLst>
                <a:ext uri="{FF2B5EF4-FFF2-40B4-BE49-F238E27FC236}">
                  <a16:creationId xmlns:a16="http://schemas.microsoft.com/office/drawing/2014/main" id="{2FC897BB-D4BC-4B93-BD1F-3FCB8A51B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2" name="Freeform 23">
              <a:extLst>
                <a:ext uri="{FF2B5EF4-FFF2-40B4-BE49-F238E27FC236}">
                  <a16:creationId xmlns:a16="http://schemas.microsoft.com/office/drawing/2014/main" id="{37CB6FDA-B6C4-4A87-9AEB-E2CC768696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3" name="Freeform 24">
              <a:extLst>
                <a:ext uri="{FF2B5EF4-FFF2-40B4-BE49-F238E27FC236}">
                  <a16:creationId xmlns:a16="http://schemas.microsoft.com/office/drawing/2014/main" id="{9EB636E2-EA73-47E1-B9D1-41B5E1183A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4" name="Freeform 25">
              <a:extLst>
                <a:ext uri="{FF2B5EF4-FFF2-40B4-BE49-F238E27FC236}">
                  <a16:creationId xmlns:a16="http://schemas.microsoft.com/office/drawing/2014/main" id="{A1D24BE6-E7F9-419E-9038-3487821748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5" name="Freeform 26">
              <a:extLst>
                <a:ext uri="{FF2B5EF4-FFF2-40B4-BE49-F238E27FC236}">
                  <a16:creationId xmlns:a16="http://schemas.microsoft.com/office/drawing/2014/main" id="{03218CF4-4C2B-499B-A778-31F5E5F57B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6" name="Freeform 27">
              <a:extLst>
                <a:ext uri="{FF2B5EF4-FFF2-40B4-BE49-F238E27FC236}">
                  <a16:creationId xmlns:a16="http://schemas.microsoft.com/office/drawing/2014/main" id="{173799A0-ECB5-493E-9E49-2EA45E4248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7" name="Freeform 28">
              <a:extLst>
                <a:ext uri="{FF2B5EF4-FFF2-40B4-BE49-F238E27FC236}">
                  <a16:creationId xmlns:a16="http://schemas.microsoft.com/office/drawing/2014/main" id="{33E96A3F-7E78-4890-94D5-D7E3CB3B23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8" name="Freeform 29">
              <a:extLst>
                <a:ext uri="{FF2B5EF4-FFF2-40B4-BE49-F238E27FC236}">
                  <a16:creationId xmlns:a16="http://schemas.microsoft.com/office/drawing/2014/main" id="{531E9948-2329-4042-8C88-955E4DCDD7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9" name="Freeform 30">
              <a:extLst>
                <a:ext uri="{FF2B5EF4-FFF2-40B4-BE49-F238E27FC236}">
                  <a16:creationId xmlns:a16="http://schemas.microsoft.com/office/drawing/2014/main" id="{54F08FC5-B24A-449D-BFE5-234C81F9D5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FE60F094-8651-44F7-800A-5C5878936E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1" name="Freeform 32">
              <a:extLst>
                <a:ext uri="{FF2B5EF4-FFF2-40B4-BE49-F238E27FC236}">
                  <a16:creationId xmlns:a16="http://schemas.microsoft.com/office/drawing/2014/main" id="{97B6F0CB-D65A-4FE1-82D0-C900FE691B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2" name="Freeform 34">
              <a:extLst>
                <a:ext uri="{FF2B5EF4-FFF2-40B4-BE49-F238E27FC236}">
                  <a16:creationId xmlns:a16="http://schemas.microsoft.com/office/drawing/2014/main" id="{C5EA344F-8008-488F-91D7-61F621AFAF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3" name="Freeform 35">
              <a:extLst>
                <a:ext uri="{FF2B5EF4-FFF2-40B4-BE49-F238E27FC236}">
                  <a16:creationId xmlns:a16="http://schemas.microsoft.com/office/drawing/2014/main" id="{E3D1E55F-4B1E-4DF3-A491-0D8570B298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4" name="Freeform 36">
              <a:extLst>
                <a:ext uri="{FF2B5EF4-FFF2-40B4-BE49-F238E27FC236}">
                  <a16:creationId xmlns:a16="http://schemas.microsoft.com/office/drawing/2014/main" id="{E873DE5C-24B0-4BF4-8297-4BA1E4AAFF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5" name="Freeform 37">
              <a:extLst>
                <a:ext uri="{FF2B5EF4-FFF2-40B4-BE49-F238E27FC236}">
                  <a16:creationId xmlns:a16="http://schemas.microsoft.com/office/drawing/2014/main" id="{0CB938A8-5CF0-4C5E-984C-0CAEB0C3E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6" name="Freeform 38">
              <a:extLst>
                <a:ext uri="{FF2B5EF4-FFF2-40B4-BE49-F238E27FC236}">
                  <a16:creationId xmlns:a16="http://schemas.microsoft.com/office/drawing/2014/main" id="{78EBBE71-A1CC-4107-AFCC-83E067E576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7" name="Freeform 39">
              <a:extLst>
                <a:ext uri="{FF2B5EF4-FFF2-40B4-BE49-F238E27FC236}">
                  <a16:creationId xmlns:a16="http://schemas.microsoft.com/office/drawing/2014/main" id="{188683EF-DA3F-456E-A35D-B703C1D053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8" name="Freeform 40">
              <a:extLst>
                <a:ext uri="{FF2B5EF4-FFF2-40B4-BE49-F238E27FC236}">
                  <a16:creationId xmlns:a16="http://schemas.microsoft.com/office/drawing/2014/main" id="{67455D6C-9F5E-48F6-9D90-B3BF88850F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9" name="Freeform 41">
              <a:extLst>
                <a:ext uri="{FF2B5EF4-FFF2-40B4-BE49-F238E27FC236}">
                  <a16:creationId xmlns:a16="http://schemas.microsoft.com/office/drawing/2014/main" id="{2049801F-BD8D-4E9D-AAEA-FAFAAC41C8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0" name="Freeform 42">
              <a:extLst>
                <a:ext uri="{FF2B5EF4-FFF2-40B4-BE49-F238E27FC236}">
                  <a16:creationId xmlns:a16="http://schemas.microsoft.com/office/drawing/2014/main" id="{05096163-0CFF-4224-8C90-BA89F552F8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1" name="Freeform 43">
              <a:extLst>
                <a:ext uri="{FF2B5EF4-FFF2-40B4-BE49-F238E27FC236}">
                  <a16:creationId xmlns:a16="http://schemas.microsoft.com/office/drawing/2014/main" id="{F9AE60ED-4BD6-40E5-A3C9-CDC44B29DF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2" name="Freeform 44">
              <a:extLst>
                <a:ext uri="{FF2B5EF4-FFF2-40B4-BE49-F238E27FC236}">
                  <a16:creationId xmlns:a16="http://schemas.microsoft.com/office/drawing/2014/main" id="{DA4117E0-3B90-46EB-B97A-0867BD9DA1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3" name="Freeform 45">
              <a:extLst>
                <a:ext uri="{FF2B5EF4-FFF2-40B4-BE49-F238E27FC236}">
                  <a16:creationId xmlns:a16="http://schemas.microsoft.com/office/drawing/2014/main" id="{761EEC17-AA04-4CC5-B696-C93A624A73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4" name="Freeform 46">
              <a:extLst>
                <a:ext uri="{FF2B5EF4-FFF2-40B4-BE49-F238E27FC236}">
                  <a16:creationId xmlns:a16="http://schemas.microsoft.com/office/drawing/2014/main" id="{19E01E8B-2F3E-4806-9747-A9FD6D7CAB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5" name="Freeform 47">
              <a:extLst>
                <a:ext uri="{FF2B5EF4-FFF2-40B4-BE49-F238E27FC236}">
                  <a16:creationId xmlns:a16="http://schemas.microsoft.com/office/drawing/2014/main" id="{31CE3624-CAB2-42C8-A51A-24F5AB088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6" name="Freeform 48">
              <a:extLst>
                <a:ext uri="{FF2B5EF4-FFF2-40B4-BE49-F238E27FC236}">
                  <a16:creationId xmlns:a16="http://schemas.microsoft.com/office/drawing/2014/main" id="{6046A1D0-D1B4-4EA9-B279-0BB0EB50C4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7" name="Freeform 49">
              <a:extLst>
                <a:ext uri="{FF2B5EF4-FFF2-40B4-BE49-F238E27FC236}">
                  <a16:creationId xmlns:a16="http://schemas.microsoft.com/office/drawing/2014/main" id="{D4B7AB6C-F51F-4D3C-B7AD-C1C1D664E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8" name="Freeform 50">
              <a:extLst>
                <a:ext uri="{FF2B5EF4-FFF2-40B4-BE49-F238E27FC236}">
                  <a16:creationId xmlns:a16="http://schemas.microsoft.com/office/drawing/2014/main" id="{8E10AC4C-338C-4C57-B1AE-E90AD68207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9" name="Freeform 51">
              <a:extLst>
                <a:ext uri="{FF2B5EF4-FFF2-40B4-BE49-F238E27FC236}">
                  <a16:creationId xmlns:a16="http://schemas.microsoft.com/office/drawing/2014/main" id="{34BF4F08-8DEC-4C2B-A2AF-788F7F1E48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0" name="Freeform 52">
              <a:extLst>
                <a:ext uri="{FF2B5EF4-FFF2-40B4-BE49-F238E27FC236}">
                  <a16:creationId xmlns:a16="http://schemas.microsoft.com/office/drawing/2014/main" id="{CFAEED60-DD64-46E7-8E79-CE50C14F1A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1" name="Freeform 53">
              <a:extLst>
                <a:ext uri="{FF2B5EF4-FFF2-40B4-BE49-F238E27FC236}">
                  <a16:creationId xmlns:a16="http://schemas.microsoft.com/office/drawing/2014/main" id="{71261761-F990-43CC-844E-2C0A2477EF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2" name="Freeform 54">
              <a:extLst>
                <a:ext uri="{FF2B5EF4-FFF2-40B4-BE49-F238E27FC236}">
                  <a16:creationId xmlns:a16="http://schemas.microsoft.com/office/drawing/2014/main" id="{D4D822F0-487A-41CD-89A2-BFEAF94DA3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3" name="Freeform 55">
              <a:extLst>
                <a:ext uri="{FF2B5EF4-FFF2-40B4-BE49-F238E27FC236}">
                  <a16:creationId xmlns:a16="http://schemas.microsoft.com/office/drawing/2014/main" id="{64127AD4-1815-4284-AA88-8E4CBE2BEB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4" name="Freeform 56">
              <a:extLst>
                <a:ext uri="{FF2B5EF4-FFF2-40B4-BE49-F238E27FC236}">
                  <a16:creationId xmlns:a16="http://schemas.microsoft.com/office/drawing/2014/main" id="{BD21305C-D290-41CE-8BC3-99457C64FB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5" name="Freeform 57">
              <a:extLst>
                <a:ext uri="{FF2B5EF4-FFF2-40B4-BE49-F238E27FC236}">
                  <a16:creationId xmlns:a16="http://schemas.microsoft.com/office/drawing/2014/main" id="{C54B15DF-E6D7-4531-BBF7-8FF9AA9A4B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6" name="Freeform 58">
              <a:extLst>
                <a:ext uri="{FF2B5EF4-FFF2-40B4-BE49-F238E27FC236}">
                  <a16:creationId xmlns:a16="http://schemas.microsoft.com/office/drawing/2014/main" id="{4D304613-492C-427C-A02E-E05ACE6B32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7" name="Freeform 59">
              <a:extLst>
                <a:ext uri="{FF2B5EF4-FFF2-40B4-BE49-F238E27FC236}">
                  <a16:creationId xmlns:a16="http://schemas.microsoft.com/office/drawing/2014/main" id="{52AED092-BCE9-47D3-8D39-F2C4684C61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8" name="Freeform 60">
              <a:extLst>
                <a:ext uri="{FF2B5EF4-FFF2-40B4-BE49-F238E27FC236}">
                  <a16:creationId xmlns:a16="http://schemas.microsoft.com/office/drawing/2014/main" id="{E9BCC919-A30E-4FA5-91D6-D4CA02EF09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9" name="Freeform 61">
              <a:extLst>
                <a:ext uri="{FF2B5EF4-FFF2-40B4-BE49-F238E27FC236}">
                  <a16:creationId xmlns:a16="http://schemas.microsoft.com/office/drawing/2014/main" id="{6CFE3E2A-8488-4AFD-ABAE-938C82F379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0" name="Freeform 62">
              <a:extLst>
                <a:ext uri="{FF2B5EF4-FFF2-40B4-BE49-F238E27FC236}">
                  <a16:creationId xmlns:a16="http://schemas.microsoft.com/office/drawing/2014/main" id="{AE6E86CC-9825-414A-B885-AD3D5F84D6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</p:grp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BABC578D-5081-452E-A28F-C835C1DA64A1}"/>
              </a:ext>
            </a:extLst>
          </p:cNvPr>
          <p:cNvSpPr/>
          <p:nvPr userDrawn="1"/>
        </p:nvSpPr>
        <p:spPr>
          <a:xfrm>
            <a:off x="6499358" y="-1"/>
            <a:ext cx="5704638" cy="6879660"/>
          </a:xfrm>
          <a:custGeom>
            <a:avLst/>
            <a:gdLst>
              <a:gd name="connsiteX0" fmla="*/ 1684339 w 5704638"/>
              <a:gd name="connsiteY0" fmla="*/ 0 h 6879660"/>
              <a:gd name="connsiteX1" fmla="*/ 5704638 w 5704638"/>
              <a:gd name="connsiteY1" fmla="*/ 0 h 6879660"/>
              <a:gd name="connsiteX2" fmla="*/ 5704638 w 5704638"/>
              <a:gd name="connsiteY2" fmla="*/ 6879660 h 6879660"/>
              <a:gd name="connsiteX3" fmla="*/ 1684339 w 5704638"/>
              <a:gd name="connsiteY3" fmla="*/ 6879660 h 6879660"/>
              <a:gd name="connsiteX4" fmla="*/ 0 w 5704638"/>
              <a:gd name="connsiteY4" fmla="*/ 6437231 h 6879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04638" h="6879660">
                <a:moveTo>
                  <a:pt x="1684339" y="0"/>
                </a:moveTo>
                <a:lnTo>
                  <a:pt x="5704638" y="0"/>
                </a:lnTo>
                <a:lnTo>
                  <a:pt x="5704638" y="6879660"/>
                </a:lnTo>
                <a:lnTo>
                  <a:pt x="1684339" y="6879660"/>
                </a:lnTo>
                <a:lnTo>
                  <a:pt x="0" y="6437231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60928" t="-30644" r="-107570" b="-2669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8" name="Text Placeholder 140">
            <a:extLst>
              <a:ext uri="{FF2B5EF4-FFF2-40B4-BE49-F238E27FC236}">
                <a16:creationId xmlns:a16="http://schemas.microsoft.com/office/drawing/2014/main" id="{4CE4066F-5CB1-43C1-8385-16A6CA0296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2" y="5394937"/>
            <a:ext cx="4772203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tx2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66" name="Text Placeholder 135">
            <a:extLst>
              <a:ext uri="{FF2B5EF4-FFF2-40B4-BE49-F238E27FC236}">
                <a16:creationId xmlns:a16="http://schemas.microsoft.com/office/drawing/2014/main" id="{7C590671-A7C1-4FD2-8937-335D342E216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8898085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C-Fluid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890DF213-662F-4F0F-AF3A-12E90D6AB403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5999291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600"/>
              </a:spcAft>
              <a:buNone/>
              <a:defRPr sz="3800" b="1">
                <a:solidFill>
                  <a:schemeClr val="tx2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131" name="Group 4">
            <a:extLst>
              <a:ext uri="{FF2B5EF4-FFF2-40B4-BE49-F238E27FC236}">
                <a16:creationId xmlns:a16="http://schemas.microsoft.com/office/drawing/2014/main" id="{952F8D34-531B-4437-B768-1A058C4F580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07255" y="616633"/>
            <a:ext cx="1256780" cy="1260000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132" name="AutoShape 3">
              <a:extLst>
                <a:ext uri="{FF2B5EF4-FFF2-40B4-BE49-F238E27FC236}">
                  <a16:creationId xmlns:a16="http://schemas.microsoft.com/office/drawing/2014/main" id="{BBEC651D-9DEC-4A01-B480-D5E4B2FC290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3" name="Rectangle 5">
              <a:extLst>
                <a:ext uri="{FF2B5EF4-FFF2-40B4-BE49-F238E27FC236}">
                  <a16:creationId xmlns:a16="http://schemas.microsoft.com/office/drawing/2014/main" id="{8AC4D9D0-269C-4ACF-BF70-19CF3F874F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4" name="Freeform 6">
              <a:extLst>
                <a:ext uri="{FF2B5EF4-FFF2-40B4-BE49-F238E27FC236}">
                  <a16:creationId xmlns:a16="http://schemas.microsoft.com/office/drawing/2014/main" id="{78D091DD-3D29-4E85-A4F2-B1EF73815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5" name="Freeform 7">
              <a:extLst>
                <a:ext uri="{FF2B5EF4-FFF2-40B4-BE49-F238E27FC236}">
                  <a16:creationId xmlns:a16="http://schemas.microsoft.com/office/drawing/2014/main" id="{41F39217-4860-4557-92E4-3744C451F0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6" name="Freeform 8">
              <a:extLst>
                <a:ext uri="{FF2B5EF4-FFF2-40B4-BE49-F238E27FC236}">
                  <a16:creationId xmlns:a16="http://schemas.microsoft.com/office/drawing/2014/main" id="{E8E8E316-21E4-4CC2-ADF5-C4F81235C3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7" name="Freeform 9">
              <a:extLst>
                <a:ext uri="{FF2B5EF4-FFF2-40B4-BE49-F238E27FC236}">
                  <a16:creationId xmlns:a16="http://schemas.microsoft.com/office/drawing/2014/main" id="{1D3C1F05-2CE2-4C38-A4B0-481C61982A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8" name="Freeform 10">
              <a:extLst>
                <a:ext uri="{FF2B5EF4-FFF2-40B4-BE49-F238E27FC236}">
                  <a16:creationId xmlns:a16="http://schemas.microsoft.com/office/drawing/2014/main" id="{B93800B0-DBA3-4D0A-9F1B-C254419B35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9" name="Freeform 11">
              <a:extLst>
                <a:ext uri="{FF2B5EF4-FFF2-40B4-BE49-F238E27FC236}">
                  <a16:creationId xmlns:a16="http://schemas.microsoft.com/office/drawing/2014/main" id="{DA73D27E-D033-4C84-A492-8DAC896B6E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1" name="Freeform 12">
              <a:extLst>
                <a:ext uri="{FF2B5EF4-FFF2-40B4-BE49-F238E27FC236}">
                  <a16:creationId xmlns:a16="http://schemas.microsoft.com/office/drawing/2014/main" id="{74F6F1BE-8465-4B37-9FA1-D0E1A2E48B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2" name="Freeform 13">
              <a:extLst>
                <a:ext uri="{FF2B5EF4-FFF2-40B4-BE49-F238E27FC236}">
                  <a16:creationId xmlns:a16="http://schemas.microsoft.com/office/drawing/2014/main" id="{9EE5749B-5072-41F9-A57E-284E0A6046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3" name="Freeform 14">
              <a:extLst>
                <a:ext uri="{FF2B5EF4-FFF2-40B4-BE49-F238E27FC236}">
                  <a16:creationId xmlns:a16="http://schemas.microsoft.com/office/drawing/2014/main" id="{2DBB559A-8AB1-47CF-9594-70FFFF07DF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EF6A068B-18BA-48B7-AC57-2231ED0F0A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5" name="Freeform 16">
              <a:extLst>
                <a:ext uri="{FF2B5EF4-FFF2-40B4-BE49-F238E27FC236}">
                  <a16:creationId xmlns:a16="http://schemas.microsoft.com/office/drawing/2014/main" id="{AF34F4D6-E742-4530-A1D5-8CBF297CF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6" name="Freeform 17">
              <a:extLst>
                <a:ext uri="{FF2B5EF4-FFF2-40B4-BE49-F238E27FC236}">
                  <a16:creationId xmlns:a16="http://schemas.microsoft.com/office/drawing/2014/main" id="{FAD1CA84-23AF-476C-9991-F757AE0651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7" name="Freeform 18">
              <a:extLst>
                <a:ext uri="{FF2B5EF4-FFF2-40B4-BE49-F238E27FC236}">
                  <a16:creationId xmlns:a16="http://schemas.microsoft.com/office/drawing/2014/main" id="{ACAEC108-E142-43B0-8B21-F856F93881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8" name="Freeform 19">
              <a:extLst>
                <a:ext uri="{FF2B5EF4-FFF2-40B4-BE49-F238E27FC236}">
                  <a16:creationId xmlns:a16="http://schemas.microsoft.com/office/drawing/2014/main" id="{C85C54C2-C1F3-4F46-AA95-330CA1FBCC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9" name="Freeform 20">
              <a:extLst>
                <a:ext uri="{FF2B5EF4-FFF2-40B4-BE49-F238E27FC236}">
                  <a16:creationId xmlns:a16="http://schemas.microsoft.com/office/drawing/2014/main" id="{DE512848-C980-40EA-8C56-CE3DC8433D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0" name="Rectangle 21">
              <a:extLst>
                <a:ext uri="{FF2B5EF4-FFF2-40B4-BE49-F238E27FC236}">
                  <a16:creationId xmlns:a16="http://schemas.microsoft.com/office/drawing/2014/main" id="{41E59601-BD60-43C2-A624-31E8A46608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1" name="Freeform 22">
              <a:extLst>
                <a:ext uri="{FF2B5EF4-FFF2-40B4-BE49-F238E27FC236}">
                  <a16:creationId xmlns:a16="http://schemas.microsoft.com/office/drawing/2014/main" id="{2FC897BB-D4BC-4B93-BD1F-3FCB8A51B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2" name="Freeform 23">
              <a:extLst>
                <a:ext uri="{FF2B5EF4-FFF2-40B4-BE49-F238E27FC236}">
                  <a16:creationId xmlns:a16="http://schemas.microsoft.com/office/drawing/2014/main" id="{37CB6FDA-B6C4-4A87-9AEB-E2CC768696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3" name="Freeform 24">
              <a:extLst>
                <a:ext uri="{FF2B5EF4-FFF2-40B4-BE49-F238E27FC236}">
                  <a16:creationId xmlns:a16="http://schemas.microsoft.com/office/drawing/2014/main" id="{9EB636E2-EA73-47E1-B9D1-41B5E1183A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4" name="Freeform 25">
              <a:extLst>
                <a:ext uri="{FF2B5EF4-FFF2-40B4-BE49-F238E27FC236}">
                  <a16:creationId xmlns:a16="http://schemas.microsoft.com/office/drawing/2014/main" id="{A1D24BE6-E7F9-419E-9038-3487821748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5" name="Freeform 26">
              <a:extLst>
                <a:ext uri="{FF2B5EF4-FFF2-40B4-BE49-F238E27FC236}">
                  <a16:creationId xmlns:a16="http://schemas.microsoft.com/office/drawing/2014/main" id="{03218CF4-4C2B-499B-A778-31F5E5F57B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6" name="Freeform 27">
              <a:extLst>
                <a:ext uri="{FF2B5EF4-FFF2-40B4-BE49-F238E27FC236}">
                  <a16:creationId xmlns:a16="http://schemas.microsoft.com/office/drawing/2014/main" id="{173799A0-ECB5-493E-9E49-2EA45E4248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7" name="Freeform 28">
              <a:extLst>
                <a:ext uri="{FF2B5EF4-FFF2-40B4-BE49-F238E27FC236}">
                  <a16:creationId xmlns:a16="http://schemas.microsoft.com/office/drawing/2014/main" id="{33E96A3F-7E78-4890-94D5-D7E3CB3B23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8" name="Freeform 29">
              <a:extLst>
                <a:ext uri="{FF2B5EF4-FFF2-40B4-BE49-F238E27FC236}">
                  <a16:creationId xmlns:a16="http://schemas.microsoft.com/office/drawing/2014/main" id="{531E9948-2329-4042-8C88-955E4DCDD7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9" name="Freeform 30">
              <a:extLst>
                <a:ext uri="{FF2B5EF4-FFF2-40B4-BE49-F238E27FC236}">
                  <a16:creationId xmlns:a16="http://schemas.microsoft.com/office/drawing/2014/main" id="{54F08FC5-B24A-449D-BFE5-234C81F9D5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FE60F094-8651-44F7-800A-5C5878936E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1" name="Freeform 32">
              <a:extLst>
                <a:ext uri="{FF2B5EF4-FFF2-40B4-BE49-F238E27FC236}">
                  <a16:creationId xmlns:a16="http://schemas.microsoft.com/office/drawing/2014/main" id="{97B6F0CB-D65A-4FE1-82D0-C900FE691B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2" name="Freeform 34">
              <a:extLst>
                <a:ext uri="{FF2B5EF4-FFF2-40B4-BE49-F238E27FC236}">
                  <a16:creationId xmlns:a16="http://schemas.microsoft.com/office/drawing/2014/main" id="{C5EA344F-8008-488F-91D7-61F621AFAF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3" name="Freeform 35">
              <a:extLst>
                <a:ext uri="{FF2B5EF4-FFF2-40B4-BE49-F238E27FC236}">
                  <a16:creationId xmlns:a16="http://schemas.microsoft.com/office/drawing/2014/main" id="{E3D1E55F-4B1E-4DF3-A491-0D8570B298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4" name="Freeform 36">
              <a:extLst>
                <a:ext uri="{FF2B5EF4-FFF2-40B4-BE49-F238E27FC236}">
                  <a16:creationId xmlns:a16="http://schemas.microsoft.com/office/drawing/2014/main" id="{E873DE5C-24B0-4BF4-8297-4BA1E4AAFF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5" name="Freeform 37">
              <a:extLst>
                <a:ext uri="{FF2B5EF4-FFF2-40B4-BE49-F238E27FC236}">
                  <a16:creationId xmlns:a16="http://schemas.microsoft.com/office/drawing/2014/main" id="{0CB938A8-5CF0-4C5E-984C-0CAEB0C3E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6" name="Freeform 38">
              <a:extLst>
                <a:ext uri="{FF2B5EF4-FFF2-40B4-BE49-F238E27FC236}">
                  <a16:creationId xmlns:a16="http://schemas.microsoft.com/office/drawing/2014/main" id="{78EBBE71-A1CC-4107-AFCC-83E067E576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7" name="Freeform 39">
              <a:extLst>
                <a:ext uri="{FF2B5EF4-FFF2-40B4-BE49-F238E27FC236}">
                  <a16:creationId xmlns:a16="http://schemas.microsoft.com/office/drawing/2014/main" id="{188683EF-DA3F-456E-A35D-B703C1D053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8" name="Freeform 40">
              <a:extLst>
                <a:ext uri="{FF2B5EF4-FFF2-40B4-BE49-F238E27FC236}">
                  <a16:creationId xmlns:a16="http://schemas.microsoft.com/office/drawing/2014/main" id="{67455D6C-9F5E-48F6-9D90-B3BF88850F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9" name="Freeform 41">
              <a:extLst>
                <a:ext uri="{FF2B5EF4-FFF2-40B4-BE49-F238E27FC236}">
                  <a16:creationId xmlns:a16="http://schemas.microsoft.com/office/drawing/2014/main" id="{2049801F-BD8D-4E9D-AAEA-FAFAAC41C8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0" name="Freeform 42">
              <a:extLst>
                <a:ext uri="{FF2B5EF4-FFF2-40B4-BE49-F238E27FC236}">
                  <a16:creationId xmlns:a16="http://schemas.microsoft.com/office/drawing/2014/main" id="{05096163-0CFF-4224-8C90-BA89F552F8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1" name="Freeform 43">
              <a:extLst>
                <a:ext uri="{FF2B5EF4-FFF2-40B4-BE49-F238E27FC236}">
                  <a16:creationId xmlns:a16="http://schemas.microsoft.com/office/drawing/2014/main" id="{F9AE60ED-4BD6-40E5-A3C9-CDC44B29DF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2" name="Freeform 44">
              <a:extLst>
                <a:ext uri="{FF2B5EF4-FFF2-40B4-BE49-F238E27FC236}">
                  <a16:creationId xmlns:a16="http://schemas.microsoft.com/office/drawing/2014/main" id="{DA4117E0-3B90-46EB-B97A-0867BD9DA1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3" name="Freeform 45">
              <a:extLst>
                <a:ext uri="{FF2B5EF4-FFF2-40B4-BE49-F238E27FC236}">
                  <a16:creationId xmlns:a16="http://schemas.microsoft.com/office/drawing/2014/main" id="{761EEC17-AA04-4CC5-B696-C93A624A73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4" name="Freeform 46">
              <a:extLst>
                <a:ext uri="{FF2B5EF4-FFF2-40B4-BE49-F238E27FC236}">
                  <a16:creationId xmlns:a16="http://schemas.microsoft.com/office/drawing/2014/main" id="{19E01E8B-2F3E-4806-9747-A9FD6D7CAB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5" name="Freeform 47">
              <a:extLst>
                <a:ext uri="{FF2B5EF4-FFF2-40B4-BE49-F238E27FC236}">
                  <a16:creationId xmlns:a16="http://schemas.microsoft.com/office/drawing/2014/main" id="{31CE3624-CAB2-42C8-A51A-24F5AB088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6" name="Freeform 48">
              <a:extLst>
                <a:ext uri="{FF2B5EF4-FFF2-40B4-BE49-F238E27FC236}">
                  <a16:creationId xmlns:a16="http://schemas.microsoft.com/office/drawing/2014/main" id="{6046A1D0-D1B4-4EA9-B279-0BB0EB50C4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7" name="Freeform 49">
              <a:extLst>
                <a:ext uri="{FF2B5EF4-FFF2-40B4-BE49-F238E27FC236}">
                  <a16:creationId xmlns:a16="http://schemas.microsoft.com/office/drawing/2014/main" id="{D4B7AB6C-F51F-4D3C-B7AD-C1C1D664E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8" name="Freeform 50">
              <a:extLst>
                <a:ext uri="{FF2B5EF4-FFF2-40B4-BE49-F238E27FC236}">
                  <a16:creationId xmlns:a16="http://schemas.microsoft.com/office/drawing/2014/main" id="{8E10AC4C-338C-4C57-B1AE-E90AD68207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9" name="Freeform 51">
              <a:extLst>
                <a:ext uri="{FF2B5EF4-FFF2-40B4-BE49-F238E27FC236}">
                  <a16:creationId xmlns:a16="http://schemas.microsoft.com/office/drawing/2014/main" id="{34BF4F08-8DEC-4C2B-A2AF-788F7F1E48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0" name="Freeform 52">
              <a:extLst>
                <a:ext uri="{FF2B5EF4-FFF2-40B4-BE49-F238E27FC236}">
                  <a16:creationId xmlns:a16="http://schemas.microsoft.com/office/drawing/2014/main" id="{CFAEED60-DD64-46E7-8E79-CE50C14F1A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1" name="Freeform 53">
              <a:extLst>
                <a:ext uri="{FF2B5EF4-FFF2-40B4-BE49-F238E27FC236}">
                  <a16:creationId xmlns:a16="http://schemas.microsoft.com/office/drawing/2014/main" id="{71261761-F990-43CC-844E-2C0A2477EF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2" name="Freeform 54">
              <a:extLst>
                <a:ext uri="{FF2B5EF4-FFF2-40B4-BE49-F238E27FC236}">
                  <a16:creationId xmlns:a16="http://schemas.microsoft.com/office/drawing/2014/main" id="{D4D822F0-487A-41CD-89A2-BFEAF94DA3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3" name="Freeform 55">
              <a:extLst>
                <a:ext uri="{FF2B5EF4-FFF2-40B4-BE49-F238E27FC236}">
                  <a16:creationId xmlns:a16="http://schemas.microsoft.com/office/drawing/2014/main" id="{64127AD4-1815-4284-AA88-8E4CBE2BEB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4" name="Freeform 56">
              <a:extLst>
                <a:ext uri="{FF2B5EF4-FFF2-40B4-BE49-F238E27FC236}">
                  <a16:creationId xmlns:a16="http://schemas.microsoft.com/office/drawing/2014/main" id="{BD21305C-D290-41CE-8BC3-99457C64FB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5" name="Freeform 57">
              <a:extLst>
                <a:ext uri="{FF2B5EF4-FFF2-40B4-BE49-F238E27FC236}">
                  <a16:creationId xmlns:a16="http://schemas.microsoft.com/office/drawing/2014/main" id="{C54B15DF-E6D7-4531-BBF7-8FF9AA9A4B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6" name="Freeform 58">
              <a:extLst>
                <a:ext uri="{FF2B5EF4-FFF2-40B4-BE49-F238E27FC236}">
                  <a16:creationId xmlns:a16="http://schemas.microsoft.com/office/drawing/2014/main" id="{4D304613-492C-427C-A02E-E05ACE6B32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7" name="Freeform 59">
              <a:extLst>
                <a:ext uri="{FF2B5EF4-FFF2-40B4-BE49-F238E27FC236}">
                  <a16:creationId xmlns:a16="http://schemas.microsoft.com/office/drawing/2014/main" id="{52AED092-BCE9-47D3-8D39-F2C4684C61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8" name="Freeform 60">
              <a:extLst>
                <a:ext uri="{FF2B5EF4-FFF2-40B4-BE49-F238E27FC236}">
                  <a16:creationId xmlns:a16="http://schemas.microsoft.com/office/drawing/2014/main" id="{E9BCC919-A30E-4FA5-91D6-D4CA02EF09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9" name="Freeform 61">
              <a:extLst>
                <a:ext uri="{FF2B5EF4-FFF2-40B4-BE49-F238E27FC236}">
                  <a16:creationId xmlns:a16="http://schemas.microsoft.com/office/drawing/2014/main" id="{6CFE3E2A-8488-4AFD-ABAE-938C82F379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0" name="Freeform 62">
              <a:extLst>
                <a:ext uri="{FF2B5EF4-FFF2-40B4-BE49-F238E27FC236}">
                  <a16:creationId xmlns:a16="http://schemas.microsoft.com/office/drawing/2014/main" id="{AE6E86CC-9825-414A-B885-AD3D5F84D6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</p:grp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BABC578D-5081-452E-A28F-C835C1DA64A1}"/>
              </a:ext>
            </a:extLst>
          </p:cNvPr>
          <p:cNvSpPr/>
          <p:nvPr userDrawn="1"/>
        </p:nvSpPr>
        <p:spPr>
          <a:xfrm>
            <a:off x="6499358" y="-1"/>
            <a:ext cx="5704638" cy="6879660"/>
          </a:xfrm>
          <a:custGeom>
            <a:avLst/>
            <a:gdLst>
              <a:gd name="connsiteX0" fmla="*/ 1684339 w 5704638"/>
              <a:gd name="connsiteY0" fmla="*/ 0 h 6879660"/>
              <a:gd name="connsiteX1" fmla="*/ 5704638 w 5704638"/>
              <a:gd name="connsiteY1" fmla="*/ 0 h 6879660"/>
              <a:gd name="connsiteX2" fmla="*/ 5704638 w 5704638"/>
              <a:gd name="connsiteY2" fmla="*/ 6879660 h 6879660"/>
              <a:gd name="connsiteX3" fmla="*/ 1684339 w 5704638"/>
              <a:gd name="connsiteY3" fmla="*/ 6879660 h 6879660"/>
              <a:gd name="connsiteX4" fmla="*/ 0 w 5704638"/>
              <a:gd name="connsiteY4" fmla="*/ 6437231 h 6879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04638" h="6879660">
                <a:moveTo>
                  <a:pt x="1684339" y="0"/>
                </a:moveTo>
                <a:lnTo>
                  <a:pt x="5704638" y="0"/>
                </a:lnTo>
                <a:lnTo>
                  <a:pt x="5704638" y="6879660"/>
                </a:lnTo>
                <a:lnTo>
                  <a:pt x="1684339" y="6879660"/>
                </a:lnTo>
                <a:lnTo>
                  <a:pt x="0" y="6437231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22106" t="-35294" r="-54327" b="-2669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2" name="Text Placeholder 140">
            <a:extLst>
              <a:ext uri="{FF2B5EF4-FFF2-40B4-BE49-F238E27FC236}">
                <a16:creationId xmlns:a16="http://schemas.microsoft.com/office/drawing/2014/main" id="{C88C7B38-255E-4D79-80C8-2A025E1CFA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2" y="5394937"/>
            <a:ext cx="4772203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tx2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66" name="Text Placeholder 135">
            <a:extLst>
              <a:ext uri="{FF2B5EF4-FFF2-40B4-BE49-F238E27FC236}">
                <a16:creationId xmlns:a16="http://schemas.microsoft.com/office/drawing/2014/main" id="{EC7B1783-9A42-4500-B3D5-978D81F020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7175611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C-Strength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890DF213-662F-4F0F-AF3A-12E90D6AB403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5999291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600"/>
              </a:spcAft>
              <a:buNone/>
              <a:defRPr sz="3800" b="1">
                <a:solidFill>
                  <a:schemeClr val="tx2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131" name="Group 4">
            <a:extLst>
              <a:ext uri="{FF2B5EF4-FFF2-40B4-BE49-F238E27FC236}">
                <a16:creationId xmlns:a16="http://schemas.microsoft.com/office/drawing/2014/main" id="{952F8D34-531B-4437-B768-1A058C4F580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07255" y="616633"/>
            <a:ext cx="1256780" cy="1260000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132" name="AutoShape 3">
              <a:extLst>
                <a:ext uri="{FF2B5EF4-FFF2-40B4-BE49-F238E27FC236}">
                  <a16:creationId xmlns:a16="http://schemas.microsoft.com/office/drawing/2014/main" id="{BBEC651D-9DEC-4A01-B480-D5E4B2FC290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3" name="Rectangle 5">
              <a:extLst>
                <a:ext uri="{FF2B5EF4-FFF2-40B4-BE49-F238E27FC236}">
                  <a16:creationId xmlns:a16="http://schemas.microsoft.com/office/drawing/2014/main" id="{8AC4D9D0-269C-4ACF-BF70-19CF3F874F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4" name="Freeform 6">
              <a:extLst>
                <a:ext uri="{FF2B5EF4-FFF2-40B4-BE49-F238E27FC236}">
                  <a16:creationId xmlns:a16="http://schemas.microsoft.com/office/drawing/2014/main" id="{78D091DD-3D29-4E85-A4F2-B1EF73815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5" name="Freeform 7">
              <a:extLst>
                <a:ext uri="{FF2B5EF4-FFF2-40B4-BE49-F238E27FC236}">
                  <a16:creationId xmlns:a16="http://schemas.microsoft.com/office/drawing/2014/main" id="{41F39217-4860-4557-92E4-3744C451F0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6" name="Freeform 8">
              <a:extLst>
                <a:ext uri="{FF2B5EF4-FFF2-40B4-BE49-F238E27FC236}">
                  <a16:creationId xmlns:a16="http://schemas.microsoft.com/office/drawing/2014/main" id="{E8E8E316-21E4-4CC2-ADF5-C4F81235C3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7" name="Freeform 9">
              <a:extLst>
                <a:ext uri="{FF2B5EF4-FFF2-40B4-BE49-F238E27FC236}">
                  <a16:creationId xmlns:a16="http://schemas.microsoft.com/office/drawing/2014/main" id="{1D3C1F05-2CE2-4C38-A4B0-481C61982A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8" name="Freeform 10">
              <a:extLst>
                <a:ext uri="{FF2B5EF4-FFF2-40B4-BE49-F238E27FC236}">
                  <a16:creationId xmlns:a16="http://schemas.microsoft.com/office/drawing/2014/main" id="{B93800B0-DBA3-4D0A-9F1B-C254419B35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9" name="Freeform 11">
              <a:extLst>
                <a:ext uri="{FF2B5EF4-FFF2-40B4-BE49-F238E27FC236}">
                  <a16:creationId xmlns:a16="http://schemas.microsoft.com/office/drawing/2014/main" id="{DA73D27E-D033-4C84-A492-8DAC896B6E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1" name="Freeform 12">
              <a:extLst>
                <a:ext uri="{FF2B5EF4-FFF2-40B4-BE49-F238E27FC236}">
                  <a16:creationId xmlns:a16="http://schemas.microsoft.com/office/drawing/2014/main" id="{74F6F1BE-8465-4B37-9FA1-D0E1A2E48B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2" name="Freeform 13">
              <a:extLst>
                <a:ext uri="{FF2B5EF4-FFF2-40B4-BE49-F238E27FC236}">
                  <a16:creationId xmlns:a16="http://schemas.microsoft.com/office/drawing/2014/main" id="{9EE5749B-5072-41F9-A57E-284E0A6046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3" name="Freeform 14">
              <a:extLst>
                <a:ext uri="{FF2B5EF4-FFF2-40B4-BE49-F238E27FC236}">
                  <a16:creationId xmlns:a16="http://schemas.microsoft.com/office/drawing/2014/main" id="{2DBB559A-8AB1-47CF-9594-70FFFF07DF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EF6A068B-18BA-48B7-AC57-2231ED0F0A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5" name="Freeform 16">
              <a:extLst>
                <a:ext uri="{FF2B5EF4-FFF2-40B4-BE49-F238E27FC236}">
                  <a16:creationId xmlns:a16="http://schemas.microsoft.com/office/drawing/2014/main" id="{AF34F4D6-E742-4530-A1D5-8CBF297CF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6" name="Freeform 17">
              <a:extLst>
                <a:ext uri="{FF2B5EF4-FFF2-40B4-BE49-F238E27FC236}">
                  <a16:creationId xmlns:a16="http://schemas.microsoft.com/office/drawing/2014/main" id="{FAD1CA84-23AF-476C-9991-F757AE0651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7" name="Freeform 18">
              <a:extLst>
                <a:ext uri="{FF2B5EF4-FFF2-40B4-BE49-F238E27FC236}">
                  <a16:creationId xmlns:a16="http://schemas.microsoft.com/office/drawing/2014/main" id="{ACAEC108-E142-43B0-8B21-F856F93881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8" name="Freeform 19">
              <a:extLst>
                <a:ext uri="{FF2B5EF4-FFF2-40B4-BE49-F238E27FC236}">
                  <a16:creationId xmlns:a16="http://schemas.microsoft.com/office/drawing/2014/main" id="{C85C54C2-C1F3-4F46-AA95-330CA1FBCC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9" name="Freeform 20">
              <a:extLst>
                <a:ext uri="{FF2B5EF4-FFF2-40B4-BE49-F238E27FC236}">
                  <a16:creationId xmlns:a16="http://schemas.microsoft.com/office/drawing/2014/main" id="{DE512848-C980-40EA-8C56-CE3DC8433D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0" name="Rectangle 21">
              <a:extLst>
                <a:ext uri="{FF2B5EF4-FFF2-40B4-BE49-F238E27FC236}">
                  <a16:creationId xmlns:a16="http://schemas.microsoft.com/office/drawing/2014/main" id="{41E59601-BD60-43C2-A624-31E8A46608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1" name="Freeform 22">
              <a:extLst>
                <a:ext uri="{FF2B5EF4-FFF2-40B4-BE49-F238E27FC236}">
                  <a16:creationId xmlns:a16="http://schemas.microsoft.com/office/drawing/2014/main" id="{2FC897BB-D4BC-4B93-BD1F-3FCB8A51B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2" name="Freeform 23">
              <a:extLst>
                <a:ext uri="{FF2B5EF4-FFF2-40B4-BE49-F238E27FC236}">
                  <a16:creationId xmlns:a16="http://schemas.microsoft.com/office/drawing/2014/main" id="{37CB6FDA-B6C4-4A87-9AEB-E2CC768696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3" name="Freeform 24">
              <a:extLst>
                <a:ext uri="{FF2B5EF4-FFF2-40B4-BE49-F238E27FC236}">
                  <a16:creationId xmlns:a16="http://schemas.microsoft.com/office/drawing/2014/main" id="{9EB636E2-EA73-47E1-B9D1-41B5E1183A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4" name="Freeform 25">
              <a:extLst>
                <a:ext uri="{FF2B5EF4-FFF2-40B4-BE49-F238E27FC236}">
                  <a16:creationId xmlns:a16="http://schemas.microsoft.com/office/drawing/2014/main" id="{A1D24BE6-E7F9-419E-9038-3487821748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5" name="Freeform 26">
              <a:extLst>
                <a:ext uri="{FF2B5EF4-FFF2-40B4-BE49-F238E27FC236}">
                  <a16:creationId xmlns:a16="http://schemas.microsoft.com/office/drawing/2014/main" id="{03218CF4-4C2B-499B-A778-31F5E5F57B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6" name="Freeform 27">
              <a:extLst>
                <a:ext uri="{FF2B5EF4-FFF2-40B4-BE49-F238E27FC236}">
                  <a16:creationId xmlns:a16="http://schemas.microsoft.com/office/drawing/2014/main" id="{173799A0-ECB5-493E-9E49-2EA45E4248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7" name="Freeform 28">
              <a:extLst>
                <a:ext uri="{FF2B5EF4-FFF2-40B4-BE49-F238E27FC236}">
                  <a16:creationId xmlns:a16="http://schemas.microsoft.com/office/drawing/2014/main" id="{33E96A3F-7E78-4890-94D5-D7E3CB3B23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8" name="Freeform 29">
              <a:extLst>
                <a:ext uri="{FF2B5EF4-FFF2-40B4-BE49-F238E27FC236}">
                  <a16:creationId xmlns:a16="http://schemas.microsoft.com/office/drawing/2014/main" id="{531E9948-2329-4042-8C88-955E4DCDD7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9" name="Freeform 30">
              <a:extLst>
                <a:ext uri="{FF2B5EF4-FFF2-40B4-BE49-F238E27FC236}">
                  <a16:creationId xmlns:a16="http://schemas.microsoft.com/office/drawing/2014/main" id="{54F08FC5-B24A-449D-BFE5-234C81F9D5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FE60F094-8651-44F7-800A-5C5878936E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1" name="Freeform 32">
              <a:extLst>
                <a:ext uri="{FF2B5EF4-FFF2-40B4-BE49-F238E27FC236}">
                  <a16:creationId xmlns:a16="http://schemas.microsoft.com/office/drawing/2014/main" id="{97B6F0CB-D65A-4FE1-82D0-C900FE691B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2" name="Freeform 34">
              <a:extLst>
                <a:ext uri="{FF2B5EF4-FFF2-40B4-BE49-F238E27FC236}">
                  <a16:creationId xmlns:a16="http://schemas.microsoft.com/office/drawing/2014/main" id="{C5EA344F-8008-488F-91D7-61F621AFAF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3" name="Freeform 35">
              <a:extLst>
                <a:ext uri="{FF2B5EF4-FFF2-40B4-BE49-F238E27FC236}">
                  <a16:creationId xmlns:a16="http://schemas.microsoft.com/office/drawing/2014/main" id="{E3D1E55F-4B1E-4DF3-A491-0D8570B298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4" name="Freeform 36">
              <a:extLst>
                <a:ext uri="{FF2B5EF4-FFF2-40B4-BE49-F238E27FC236}">
                  <a16:creationId xmlns:a16="http://schemas.microsoft.com/office/drawing/2014/main" id="{E873DE5C-24B0-4BF4-8297-4BA1E4AAFF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5" name="Freeform 37">
              <a:extLst>
                <a:ext uri="{FF2B5EF4-FFF2-40B4-BE49-F238E27FC236}">
                  <a16:creationId xmlns:a16="http://schemas.microsoft.com/office/drawing/2014/main" id="{0CB938A8-5CF0-4C5E-984C-0CAEB0C3E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6" name="Freeform 38">
              <a:extLst>
                <a:ext uri="{FF2B5EF4-FFF2-40B4-BE49-F238E27FC236}">
                  <a16:creationId xmlns:a16="http://schemas.microsoft.com/office/drawing/2014/main" id="{78EBBE71-A1CC-4107-AFCC-83E067E576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7" name="Freeform 39">
              <a:extLst>
                <a:ext uri="{FF2B5EF4-FFF2-40B4-BE49-F238E27FC236}">
                  <a16:creationId xmlns:a16="http://schemas.microsoft.com/office/drawing/2014/main" id="{188683EF-DA3F-456E-A35D-B703C1D053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8" name="Freeform 40">
              <a:extLst>
                <a:ext uri="{FF2B5EF4-FFF2-40B4-BE49-F238E27FC236}">
                  <a16:creationId xmlns:a16="http://schemas.microsoft.com/office/drawing/2014/main" id="{67455D6C-9F5E-48F6-9D90-B3BF88850F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9" name="Freeform 41">
              <a:extLst>
                <a:ext uri="{FF2B5EF4-FFF2-40B4-BE49-F238E27FC236}">
                  <a16:creationId xmlns:a16="http://schemas.microsoft.com/office/drawing/2014/main" id="{2049801F-BD8D-4E9D-AAEA-FAFAAC41C8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0" name="Freeform 42">
              <a:extLst>
                <a:ext uri="{FF2B5EF4-FFF2-40B4-BE49-F238E27FC236}">
                  <a16:creationId xmlns:a16="http://schemas.microsoft.com/office/drawing/2014/main" id="{05096163-0CFF-4224-8C90-BA89F552F8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1" name="Freeform 43">
              <a:extLst>
                <a:ext uri="{FF2B5EF4-FFF2-40B4-BE49-F238E27FC236}">
                  <a16:creationId xmlns:a16="http://schemas.microsoft.com/office/drawing/2014/main" id="{F9AE60ED-4BD6-40E5-A3C9-CDC44B29DF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2" name="Freeform 44">
              <a:extLst>
                <a:ext uri="{FF2B5EF4-FFF2-40B4-BE49-F238E27FC236}">
                  <a16:creationId xmlns:a16="http://schemas.microsoft.com/office/drawing/2014/main" id="{DA4117E0-3B90-46EB-B97A-0867BD9DA1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3" name="Freeform 45">
              <a:extLst>
                <a:ext uri="{FF2B5EF4-FFF2-40B4-BE49-F238E27FC236}">
                  <a16:creationId xmlns:a16="http://schemas.microsoft.com/office/drawing/2014/main" id="{761EEC17-AA04-4CC5-B696-C93A624A73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4" name="Freeform 46">
              <a:extLst>
                <a:ext uri="{FF2B5EF4-FFF2-40B4-BE49-F238E27FC236}">
                  <a16:creationId xmlns:a16="http://schemas.microsoft.com/office/drawing/2014/main" id="{19E01E8B-2F3E-4806-9747-A9FD6D7CAB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5" name="Freeform 47">
              <a:extLst>
                <a:ext uri="{FF2B5EF4-FFF2-40B4-BE49-F238E27FC236}">
                  <a16:creationId xmlns:a16="http://schemas.microsoft.com/office/drawing/2014/main" id="{31CE3624-CAB2-42C8-A51A-24F5AB088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6" name="Freeform 48">
              <a:extLst>
                <a:ext uri="{FF2B5EF4-FFF2-40B4-BE49-F238E27FC236}">
                  <a16:creationId xmlns:a16="http://schemas.microsoft.com/office/drawing/2014/main" id="{6046A1D0-D1B4-4EA9-B279-0BB0EB50C4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7" name="Freeform 49">
              <a:extLst>
                <a:ext uri="{FF2B5EF4-FFF2-40B4-BE49-F238E27FC236}">
                  <a16:creationId xmlns:a16="http://schemas.microsoft.com/office/drawing/2014/main" id="{D4B7AB6C-F51F-4D3C-B7AD-C1C1D664E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8" name="Freeform 50">
              <a:extLst>
                <a:ext uri="{FF2B5EF4-FFF2-40B4-BE49-F238E27FC236}">
                  <a16:creationId xmlns:a16="http://schemas.microsoft.com/office/drawing/2014/main" id="{8E10AC4C-338C-4C57-B1AE-E90AD68207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9" name="Freeform 51">
              <a:extLst>
                <a:ext uri="{FF2B5EF4-FFF2-40B4-BE49-F238E27FC236}">
                  <a16:creationId xmlns:a16="http://schemas.microsoft.com/office/drawing/2014/main" id="{34BF4F08-8DEC-4C2B-A2AF-788F7F1E48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0" name="Freeform 52">
              <a:extLst>
                <a:ext uri="{FF2B5EF4-FFF2-40B4-BE49-F238E27FC236}">
                  <a16:creationId xmlns:a16="http://schemas.microsoft.com/office/drawing/2014/main" id="{CFAEED60-DD64-46E7-8E79-CE50C14F1A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1" name="Freeform 53">
              <a:extLst>
                <a:ext uri="{FF2B5EF4-FFF2-40B4-BE49-F238E27FC236}">
                  <a16:creationId xmlns:a16="http://schemas.microsoft.com/office/drawing/2014/main" id="{71261761-F990-43CC-844E-2C0A2477EF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2" name="Freeform 54">
              <a:extLst>
                <a:ext uri="{FF2B5EF4-FFF2-40B4-BE49-F238E27FC236}">
                  <a16:creationId xmlns:a16="http://schemas.microsoft.com/office/drawing/2014/main" id="{D4D822F0-487A-41CD-89A2-BFEAF94DA3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3" name="Freeform 55">
              <a:extLst>
                <a:ext uri="{FF2B5EF4-FFF2-40B4-BE49-F238E27FC236}">
                  <a16:creationId xmlns:a16="http://schemas.microsoft.com/office/drawing/2014/main" id="{64127AD4-1815-4284-AA88-8E4CBE2BEB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4" name="Freeform 56">
              <a:extLst>
                <a:ext uri="{FF2B5EF4-FFF2-40B4-BE49-F238E27FC236}">
                  <a16:creationId xmlns:a16="http://schemas.microsoft.com/office/drawing/2014/main" id="{BD21305C-D290-41CE-8BC3-99457C64FB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5" name="Freeform 57">
              <a:extLst>
                <a:ext uri="{FF2B5EF4-FFF2-40B4-BE49-F238E27FC236}">
                  <a16:creationId xmlns:a16="http://schemas.microsoft.com/office/drawing/2014/main" id="{C54B15DF-E6D7-4531-BBF7-8FF9AA9A4B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6" name="Freeform 58">
              <a:extLst>
                <a:ext uri="{FF2B5EF4-FFF2-40B4-BE49-F238E27FC236}">
                  <a16:creationId xmlns:a16="http://schemas.microsoft.com/office/drawing/2014/main" id="{4D304613-492C-427C-A02E-E05ACE6B32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7" name="Freeform 59">
              <a:extLst>
                <a:ext uri="{FF2B5EF4-FFF2-40B4-BE49-F238E27FC236}">
                  <a16:creationId xmlns:a16="http://schemas.microsoft.com/office/drawing/2014/main" id="{52AED092-BCE9-47D3-8D39-F2C4684C61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8" name="Freeform 60">
              <a:extLst>
                <a:ext uri="{FF2B5EF4-FFF2-40B4-BE49-F238E27FC236}">
                  <a16:creationId xmlns:a16="http://schemas.microsoft.com/office/drawing/2014/main" id="{E9BCC919-A30E-4FA5-91D6-D4CA02EF09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9" name="Freeform 61">
              <a:extLst>
                <a:ext uri="{FF2B5EF4-FFF2-40B4-BE49-F238E27FC236}">
                  <a16:creationId xmlns:a16="http://schemas.microsoft.com/office/drawing/2014/main" id="{6CFE3E2A-8488-4AFD-ABAE-938C82F379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0" name="Freeform 62">
              <a:extLst>
                <a:ext uri="{FF2B5EF4-FFF2-40B4-BE49-F238E27FC236}">
                  <a16:creationId xmlns:a16="http://schemas.microsoft.com/office/drawing/2014/main" id="{AE6E86CC-9825-414A-B885-AD3D5F84D6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</p:grp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BABC578D-5081-452E-A28F-C835C1DA64A1}"/>
              </a:ext>
            </a:extLst>
          </p:cNvPr>
          <p:cNvSpPr/>
          <p:nvPr userDrawn="1"/>
        </p:nvSpPr>
        <p:spPr>
          <a:xfrm>
            <a:off x="6499358" y="-1"/>
            <a:ext cx="5704638" cy="6879660"/>
          </a:xfrm>
          <a:custGeom>
            <a:avLst/>
            <a:gdLst>
              <a:gd name="connsiteX0" fmla="*/ 1684339 w 5704638"/>
              <a:gd name="connsiteY0" fmla="*/ 0 h 6879660"/>
              <a:gd name="connsiteX1" fmla="*/ 5704638 w 5704638"/>
              <a:gd name="connsiteY1" fmla="*/ 0 h 6879660"/>
              <a:gd name="connsiteX2" fmla="*/ 5704638 w 5704638"/>
              <a:gd name="connsiteY2" fmla="*/ 6879660 h 6879660"/>
              <a:gd name="connsiteX3" fmla="*/ 1684339 w 5704638"/>
              <a:gd name="connsiteY3" fmla="*/ 6879660 h 6879660"/>
              <a:gd name="connsiteX4" fmla="*/ 0 w 5704638"/>
              <a:gd name="connsiteY4" fmla="*/ 6437231 h 6879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04638" h="6879660">
                <a:moveTo>
                  <a:pt x="1684339" y="0"/>
                </a:moveTo>
                <a:lnTo>
                  <a:pt x="5704638" y="0"/>
                </a:lnTo>
                <a:lnTo>
                  <a:pt x="5704638" y="6879660"/>
                </a:lnTo>
                <a:lnTo>
                  <a:pt x="1684339" y="6879660"/>
                </a:lnTo>
                <a:lnTo>
                  <a:pt x="0" y="6437231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55179" t="-40292" r="-67666" b="-4637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2" name="Text Placeholder 140">
            <a:extLst>
              <a:ext uri="{FF2B5EF4-FFF2-40B4-BE49-F238E27FC236}">
                <a16:creationId xmlns:a16="http://schemas.microsoft.com/office/drawing/2014/main" id="{B37A7C5F-6C97-4907-9B6E-CAD54B542D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2" y="5394937"/>
            <a:ext cx="4772203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tx2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66" name="Text Placeholder 135">
            <a:extLst>
              <a:ext uri="{FF2B5EF4-FFF2-40B4-BE49-F238E27FC236}">
                <a16:creationId xmlns:a16="http://schemas.microsoft.com/office/drawing/2014/main" id="{89411580-DB87-4A03-8CAA-0596920BA9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25276569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A3F1C04-3200-4425-86D0-2F9E2EAC9EF4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4772203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1200"/>
              </a:spcAft>
              <a:buNone/>
              <a:defRPr sz="3800" b="1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sp>
        <p:nvSpPr>
          <p:cNvPr id="147" name="Text Placeholder 140">
            <a:extLst>
              <a:ext uri="{FF2B5EF4-FFF2-40B4-BE49-F238E27FC236}">
                <a16:creationId xmlns:a16="http://schemas.microsoft.com/office/drawing/2014/main" id="{74859718-6497-4295-886B-BD752B23C8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94666" y="686883"/>
            <a:ext cx="3765573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bg1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grpSp>
        <p:nvGrpSpPr>
          <p:cNvPr id="67" name="Group 4">
            <a:extLst>
              <a:ext uri="{FF2B5EF4-FFF2-40B4-BE49-F238E27FC236}">
                <a16:creationId xmlns:a16="http://schemas.microsoft.com/office/drawing/2014/main" id="{17413FA8-B926-4F79-BE67-4D826E05949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21066" y="453777"/>
            <a:ext cx="1662286" cy="1666547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68" name="AutoShape 3">
              <a:extLst>
                <a:ext uri="{FF2B5EF4-FFF2-40B4-BE49-F238E27FC236}">
                  <a16:creationId xmlns:a16="http://schemas.microsoft.com/office/drawing/2014/main" id="{67A0898D-5E9C-4ECA-8716-B27BD4E303A7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69" name="Rectangle 5">
              <a:extLst>
                <a:ext uri="{FF2B5EF4-FFF2-40B4-BE49-F238E27FC236}">
                  <a16:creationId xmlns:a16="http://schemas.microsoft.com/office/drawing/2014/main" id="{239A1E07-3A1C-41F5-92ED-8B3567E0FF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0" name="Freeform 6">
              <a:extLst>
                <a:ext uri="{FF2B5EF4-FFF2-40B4-BE49-F238E27FC236}">
                  <a16:creationId xmlns:a16="http://schemas.microsoft.com/office/drawing/2014/main" id="{E9D6C4A4-2B67-4288-817E-9A4BFFCA30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1" name="Freeform 7">
              <a:extLst>
                <a:ext uri="{FF2B5EF4-FFF2-40B4-BE49-F238E27FC236}">
                  <a16:creationId xmlns:a16="http://schemas.microsoft.com/office/drawing/2014/main" id="{6B8D6F90-2C6B-4628-AE61-C65FEE4878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C0E4DAA6-41BC-4FB2-8CF3-65E9131F42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3" name="Freeform 9">
              <a:extLst>
                <a:ext uri="{FF2B5EF4-FFF2-40B4-BE49-F238E27FC236}">
                  <a16:creationId xmlns:a16="http://schemas.microsoft.com/office/drawing/2014/main" id="{2474DAF8-D7A5-411C-A001-70D5A07D88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4" name="Freeform 10">
              <a:extLst>
                <a:ext uri="{FF2B5EF4-FFF2-40B4-BE49-F238E27FC236}">
                  <a16:creationId xmlns:a16="http://schemas.microsoft.com/office/drawing/2014/main" id="{06B8E519-0572-4B3F-9254-9C405ADACC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5" name="Freeform 11">
              <a:extLst>
                <a:ext uri="{FF2B5EF4-FFF2-40B4-BE49-F238E27FC236}">
                  <a16:creationId xmlns:a16="http://schemas.microsoft.com/office/drawing/2014/main" id="{4DA47499-7EFA-44C7-93C9-40237E640F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6" name="Freeform 12">
              <a:extLst>
                <a:ext uri="{FF2B5EF4-FFF2-40B4-BE49-F238E27FC236}">
                  <a16:creationId xmlns:a16="http://schemas.microsoft.com/office/drawing/2014/main" id="{C8EA471D-6FAF-4C4F-B21D-814C5991B9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7" name="Freeform 13">
              <a:extLst>
                <a:ext uri="{FF2B5EF4-FFF2-40B4-BE49-F238E27FC236}">
                  <a16:creationId xmlns:a16="http://schemas.microsoft.com/office/drawing/2014/main" id="{BEC055FD-07C4-4F86-A926-EFFCD0E704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78" name="Freeform 14">
              <a:extLst>
                <a:ext uri="{FF2B5EF4-FFF2-40B4-BE49-F238E27FC236}">
                  <a16:creationId xmlns:a16="http://schemas.microsoft.com/office/drawing/2014/main" id="{DBC8C3F1-E782-4E33-8648-C0D9005D2F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37" name="Freeform 15">
              <a:extLst>
                <a:ext uri="{FF2B5EF4-FFF2-40B4-BE49-F238E27FC236}">
                  <a16:creationId xmlns:a16="http://schemas.microsoft.com/office/drawing/2014/main" id="{511543D3-2D83-4FA7-A510-0D59ED4DFD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1" name="Freeform 16">
              <a:extLst>
                <a:ext uri="{FF2B5EF4-FFF2-40B4-BE49-F238E27FC236}">
                  <a16:creationId xmlns:a16="http://schemas.microsoft.com/office/drawing/2014/main" id="{5C99A006-6A36-4318-A0F6-FC763AF1FD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2" name="Freeform 17">
              <a:extLst>
                <a:ext uri="{FF2B5EF4-FFF2-40B4-BE49-F238E27FC236}">
                  <a16:creationId xmlns:a16="http://schemas.microsoft.com/office/drawing/2014/main" id="{D65C69B5-F055-4C41-976C-E6733BC98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3" name="Freeform 18">
              <a:extLst>
                <a:ext uri="{FF2B5EF4-FFF2-40B4-BE49-F238E27FC236}">
                  <a16:creationId xmlns:a16="http://schemas.microsoft.com/office/drawing/2014/main" id="{1A3177FB-A0BD-4B08-B181-14A829DF1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4" name="Freeform 19">
              <a:extLst>
                <a:ext uri="{FF2B5EF4-FFF2-40B4-BE49-F238E27FC236}">
                  <a16:creationId xmlns:a16="http://schemas.microsoft.com/office/drawing/2014/main" id="{3528B336-8FBC-4C1E-B4B2-C99449F8E8B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5" name="Freeform 20">
              <a:extLst>
                <a:ext uri="{FF2B5EF4-FFF2-40B4-BE49-F238E27FC236}">
                  <a16:creationId xmlns:a16="http://schemas.microsoft.com/office/drawing/2014/main" id="{BD4F46C1-2FE6-44C8-A55E-45E98246F6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8" name="Rectangle 21">
              <a:extLst>
                <a:ext uri="{FF2B5EF4-FFF2-40B4-BE49-F238E27FC236}">
                  <a16:creationId xmlns:a16="http://schemas.microsoft.com/office/drawing/2014/main" id="{09DD4248-B5EF-40DF-AEE7-8BD9A8A741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49" name="Freeform 22">
              <a:extLst>
                <a:ext uri="{FF2B5EF4-FFF2-40B4-BE49-F238E27FC236}">
                  <a16:creationId xmlns:a16="http://schemas.microsoft.com/office/drawing/2014/main" id="{0EF4CE3A-3112-407D-B00C-337ACD7FDA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0" name="Freeform 23">
              <a:extLst>
                <a:ext uri="{FF2B5EF4-FFF2-40B4-BE49-F238E27FC236}">
                  <a16:creationId xmlns:a16="http://schemas.microsoft.com/office/drawing/2014/main" id="{EEE8532D-E6E7-4BD0-9A45-58E8A1A93D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1" name="Freeform 24">
              <a:extLst>
                <a:ext uri="{FF2B5EF4-FFF2-40B4-BE49-F238E27FC236}">
                  <a16:creationId xmlns:a16="http://schemas.microsoft.com/office/drawing/2014/main" id="{2B2B85B8-C753-425A-ACC5-3B2B2268FE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2" name="Freeform 25">
              <a:extLst>
                <a:ext uri="{FF2B5EF4-FFF2-40B4-BE49-F238E27FC236}">
                  <a16:creationId xmlns:a16="http://schemas.microsoft.com/office/drawing/2014/main" id="{023916B4-1AD7-4055-9353-DB438003EF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3" name="Freeform 26">
              <a:extLst>
                <a:ext uri="{FF2B5EF4-FFF2-40B4-BE49-F238E27FC236}">
                  <a16:creationId xmlns:a16="http://schemas.microsoft.com/office/drawing/2014/main" id="{6D2086AF-BC95-4BE8-AB84-A66F4C80A6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4" name="Freeform 27">
              <a:extLst>
                <a:ext uri="{FF2B5EF4-FFF2-40B4-BE49-F238E27FC236}">
                  <a16:creationId xmlns:a16="http://schemas.microsoft.com/office/drawing/2014/main" id="{E7A147C6-9FDA-4D95-A42A-92861D17D6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5" name="Freeform 28">
              <a:extLst>
                <a:ext uri="{FF2B5EF4-FFF2-40B4-BE49-F238E27FC236}">
                  <a16:creationId xmlns:a16="http://schemas.microsoft.com/office/drawing/2014/main" id="{45D5BF2A-EF85-417C-B03F-30CEAE118D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6" name="Freeform 29">
              <a:extLst>
                <a:ext uri="{FF2B5EF4-FFF2-40B4-BE49-F238E27FC236}">
                  <a16:creationId xmlns:a16="http://schemas.microsoft.com/office/drawing/2014/main" id="{795098EC-2ACB-4C39-AA2D-A12FF06BA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7" name="Freeform 30">
              <a:extLst>
                <a:ext uri="{FF2B5EF4-FFF2-40B4-BE49-F238E27FC236}">
                  <a16:creationId xmlns:a16="http://schemas.microsoft.com/office/drawing/2014/main" id="{447048D5-71A3-4A33-9E51-0388E2EC90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8" name="Freeform 31">
              <a:extLst>
                <a:ext uri="{FF2B5EF4-FFF2-40B4-BE49-F238E27FC236}">
                  <a16:creationId xmlns:a16="http://schemas.microsoft.com/office/drawing/2014/main" id="{5866A8C0-C096-47DA-9C8E-D82E74E47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59" name="Freeform 32">
              <a:extLst>
                <a:ext uri="{FF2B5EF4-FFF2-40B4-BE49-F238E27FC236}">
                  <a16:creationId xmlns:a16="http://schemas.microsoft.com/office/drawing/2014/main" id="{4B91E936-1F6C-4BAE-9F8C-2A198926D7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0" name="Freeform 34">
              <a:extLst>
                <a:ext uri="{FF2B5EF4-FFF2-40B4-BE49-F238E27FC236}">
                  <a16:creationId xmlns:a16="http://schemas.microsoft.com/office/drawing/2014/main" id="{88823701-A9F3-4323-AD0C-A2AD4BE0B9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1" name="Freeform 35">
              <a:extLst>
                <a:ext uri="{FF2B5EF4-FFF2-40B4-BE49-F238E27FC236}">
                  <a16:creationId xmlns:a16="http://schemas.microsoft.com/office/drawing/2014/main" id="{C495104A-F915-4B0C-961E-EF42EEA3C8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2" name="Freeform 36">
              <a:extLst>
                <a:ext uri="{FF2B5EF4-FFF2-40B4-BE49-F238E27FC236}">
                  <a16:creationId xmlns:a16="http://schemas.microsoft.com/office/drawing/2014/main" id="{6A51DB3B-303A-4D1F-A5E4-A76D700245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3" name="Freeform 37">
              <a:extLst>
                <a:ext uri="{FF2B5EF4-FFF2-40B4-BE49-F238E27FC236}">
                  <a16:creationId xmlns:a16="http://schemas.microsoft.com/office/drawing/2014/main" id="{E2E2D34A-EEA4-4A9C-81F3-B794F5CEFE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4" name="Freeform 38">
              <a:extLst>
                <a:ext uri="{FF2B5EF4-FFF2-40B4-BE49-F238E27FC236}">
                  <a16:creationId xmlns:a16="http://schemas.microsoft.com/office/drawing/2014/main" id="{8B3BECFC-710D-46F1-96FF-B5371F927C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5" name="Freeform 39">
              <a:extLst>
                <a:ext uri="{FF2B5EF4-FFF2-40B4-BE49-F238E27FC236}">
                  <a16:creationId xmlns:a16="http://schemas.microsoft.com/office/drawing/2014/main" id="{90665531-8DF2-4759-B8DB-FEF6D91D48E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6" name="Freeform 40">
              <a:extLst>
                <a:ext uri="{FF2B5EF4-FFF2-40B4-BE49-F238E27FC236}">
                  <a16:creationId xmlns:a16="http://schemas.microsoft.com/office/drawing/2014/main" id="{26F566F5-E589-4F94-81DD-DD2CA39F85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7" name="Freeform 41">
              <a:extLst>
                <a:ext uri="{FF2B5EF4-FFF2-40B4-BE49-F238E27FC236}">
                  <a16:creationId xmlns:a16="http://schemas.microsoft.com/office/drawing/2014/main" id="{AD2F1B90-FBA5-468A-ADE5-6AF4A84870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8" name="Freeform 42">
              <a:extLst>
                <a:ext uri="{FF2B5EF4-FFF2-40B4-BE49-F238E27FC236}">
                  <a16:creationId xmlns:a16="http://schemas.microsoft.com/office/drawing/2014/main" id="{2FD588FF-B434-4865-9645-F295045E86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69" name="Freeform 43">
              <a:extLst>
                <a:ext uri="{FF2B5EF4-FFF2-40B4-BE49-F238E27FC236}">
                  <a16:creationId xmlns:a16="http://schemas.microsoft.com/office/drawing/2014/main" id="{19302DA6-B22F-4EF5-A69A-ABD9063A8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0" name="Freeform 44">
              <a:extLst>
                <a:ext uri="{FF2B5EF4-FFF2-40B4-BE49-F238E27FC236}">
                  <a16:creationId xmlns:a16="http://schemas.microsoft.com/office/drawing/2014/main" id="{FE7EC85F-4555-4FCA-8CCD-19C42F488E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1" name="Freeform 45">
              <a:extLst>
                <a:ext uri="{FF2B5EF4-FFF2-40B4-BE49-F238E27FC236}">
                  <a16:creationId xmlns:a16="http://schemas.microsoft.com/office/drawing/2014/main" id="{1962168F-4DE0-46A6-8EFD-C4A1BA3751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2" name="Freeform 46">
              <a:extLst>
                <a:ext uri="{FF2B5EF4-FFF2-40B4-BE49-F238E27FC236}">
                  <a16:creationId xmlns:a16="http://schemas.microsoft.com/office/drawing/2014/main" id="{7B9E10B1-1CAA-4E4C-B256-1BA034A292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3" name="Freeform 47">
              <a:extLst>
                <a:ext uri="{FF2B5EF4-FFF2-40B4-BE49-F238E27FC236}">
                  <a16:creationId xmlns:a16="http://schemas.microsoft.com/office/drawing/2014/main" id="{A8D8148A-C053-4A37-844E-75EF041690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4" name="Freeform 48">
              <a:extLst>
                <a:ext uri="{FF2B5EF4-FFF2-40B4-BE49-F238E27FC236}">
                  <a16:creationId xmlns:a16="http://schemas.microsoft.com/office/drawing/2014/main" id="{A20CEF9E-743B-4F98-9FF0-EBBBC4FEB2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5" name="Freeform 49">
              <a:extLst>
                <a:ext uri="{FF2B5EF4-FFF2-40B4-BE49-F238E27FC236}">
                  <a16:creationId xmlns:a16="http://schemas.microsoft.com/office/drawing/2014/main" id="{B790B20E-FD43-462D-8007-EC2B15D8FC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6" name="Freeform 50">
              <a:extLst>
                <a:ext uri="{FF2B5EF4-FFF2-40B4-BE49-F238E27FC236}">
                  <a16:creationId xmlns:a16="http://schemas.microsoft.com/office/drawing/2014/main" id="{3DCCF01C-7444-4B23-BDF1-D8027642EA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7" name="Freeform 51">
              <a:extLst>
                <a:ext uri="{FF2B5EF4-FFF2-40B4-BE49-F238E27FC236}">
                  <a16:creationId xmlns:a16="http://schemas.microsoft.com/office/drawing/2014/main" id="{9C1F7A58-7A43-4EF6-8310-FC2223E349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8" name="Freeform 52">
              <a:extLst>
                <a:ext uri="{FF2B5EF4-FFF2-40B4-BE49-F238E27FC236}">
                  <a16:creationId xmlns:a16="http://schemas.microsoft.com/office/drawing/2014/main" id="{CFADC32E-9FC7-4E6E-842D-E7A407A37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79" name="Freeform 53">
              <a:extLst>
                <a:ext uri="{FF2B5EF4-FFF2-40B4-BE49-F238E27FC236}">
                  <a16:creationId xmlns:a16="http://schemas.microsoft.com/office/drawing/2014/main" id="{D5B27FA2-8D3C-408A-9480-A049E6D384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0" name="Freeform 54">
              <a:extLst>
                <a:ext uri="{FF2B5EF4-FFF2-40B4-BE49-F238E27FC236}">
                  <a16:creationId xmlns:a16="http://schemas.microsoft.com/office/drawing/2014/main" id="{1FE7A3D8-FB06-4617-BFC5-9D2DCCA8AB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1" name="Freeform 55">
              <a:extLst>
                <a:ext uri="{FF2B5EF4-FFF2-40B4-BE49-F238E27FC236}">
                  <a16:creationId xmlns:a16="http://schemas.microsoft.com/office/drawing/2014/main" id="{465E4A38-A19E-4A38-8E8A-A82D12FA5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2" name="Freeform 56">
              <a:extLst>
                <a:ext uri="{FF2B5EF4-FFF2-40B4-BE49-F238E27FC236}">
                  <a16:creationId xmlns:a16="http://schemas.microsoft.com/office/drawing/2014/main" id="{A1F24538-62EE-43F6-AFF0-9E5AC6235F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3" name="Freeform 57">
              <a:extLst>
                <a:ext uri="{FF2B5EF4-FFF2-40B4-BE49-F238E27FC236}">
                  <a16:creationId xmlns:a16="http://schemas.microsoft.com/office/drawing/2014/main" id="{E45D68DF-3FB9-4397-9E42-B8F0FD2CBC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4" name="Freeform 58">
              <a:extLst>
                <a:ext uri="{FF2B5EF4-FFF2-40B4-BE49-F238E27FC236}">
                  <a16:creationId xmlns:a16="http://schemas.microsoft.com/office/drawing/2014/main" id="{A559BEA7-D8F9-48FE-8B9C-D2CC236311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5" name="Freeform 59">
              <a:extLst>
                <a:ext uri="{FF2B5EF4-FFF2-40B4-BE49-F238E27FC236}">
                  <a16:creationId xmlns:a16="http://schemas.microsoft.com/office/drawing/2014/main" id="{00C3857F-D388-4662-B791-624CEA2D4E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6" name="Freeform 60">
              <a:extLst>
                <a:ext uri="{FF2B5EF4-FFF2-40B4-BE49-F238E27FC236}">
                  <a16:creationId xmlns:a16="http://schemas.microsoft.com/office/drawing/2014/main" id="{509EDC47-72F4-4A73-A0DC-EFEEA7F78B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7" name="Freeform 61">
              <a:extLst>
                <a:ext uri="{FF2B5EF4-FFF2-40B4-BE49-F238E27FC236}">
                  <a16:creationId xmlns:a16="http://schemas.microsoft.com/office/drawing/2014/main" id="{82FD3E03-FA3C-47B4-A46E-1FDBD51C45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  <p:sp>
          <p:nvSpPr>
            <p:cNvPr id="188" name="Freeform 62">
              <a:extLst>
                <a:ext uri="{FF2B5EF4-FFF2-40B4-BE49-F238E27FC236}">
                  <a16:creationId xmlns:a16="http://schemas.microsoft.com/office/drawing/2014/main" id="{B71695B0-B6B0-40D5-8FAF-58EC726C64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noProof="0"/>
            </a:p>
          </p:txBody>
        </p:sp>
      </p:grpSp>
      <p:sp>
        <p:nvSpPr>
          <p:cNvPr id="66" name="Picture Placeholder 138">
            <a:extLst>
              <a:ext uri="{FF2B5EF4-FFF2-40B4-BE49-F238E27FC236}">
                <a16:creationId xmlns:a16="http://schemas.microsoft.com/office/drawing/2014/main" id="{F66FA02B-43F8-442C-A7E5-0D31D41E9CE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2241" y="1030147"/>
            <a:ext cx="5919758" cy="5825419"/>
          </a:xfrm>
          <a:custGeom>
            <a:avLst/>
            <a:gdLst>
              <a:gd name="connsiteX0" fmla="*/ 5919758 w 5919758"/>
              <a:gd name="connsiteY0" fmla="*/ 0 h 5825419"/>
              <a:gd name="connsiteX1" fmla="*/ 5919758 w 5919758"/>
              <a:gd name="connsiteY1" fmla="*/ 5825419 h 5825419"/>
              <a:gd name="connsiteX2" fmla="*/ 1120273 w 5919758"/>
              <a:gd name="connsiteY2" fmla="*/ 5825419 h 5825419"/>
              <a:gd name="connsiteX3" fmla="*/ 0 w 5919758"/>
              <a:gd name="connsiteY3" fmla="*/ 1588036 h 582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9758" h="5825419">
                <a:moveTo>
                  <a:pt x="5919758" y="0"/>
                </a:moveTo>
                <a:lnTo>
                  <a:pt x="5919758" y="5825419"/>
                </a:lnTo>
                <a:lnTo>
                  <a:pt x="1120273" y="5825419"/>
                </a:lnTo>
                <a:lnTo>
                  <a:pt x="0" y="1588036"/>
                </a:lnTo>
                <a:close/>
              </a:path>
            </a:pathLst>
          </a:custGeom>
          <a:noFill/>
        </p:spPr>
        <p:txBody>
          <a:bodyPr wrap="square" lIns="576000" tIns="1728000" rIns="360000" bIns="360000">
            <a:noAutofit/>
          </a:bodyPr>
          <a:lstStyle>
            <a:lvl1pPr algn="l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AU" noProof="0" dirty="0"/>
              <a:t>Click central icon to add picture or pattern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41F2942-2F48-4595-B815-42D3F57C14B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00062" y="5410200"/>
            <a:ext cx="1939655" cy="92392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Click to add partner logos</a:t>
            </a:r>
          </a:p>
        </p:txBody>
      </p:sp>
      <p:sp>
        <p:nvSpPr>
          <p:cNvPr id="79" name="Picture Placeholder 2">
            <a:extLst>
              <a:ext uri="{FF2B5EF4-FFF2-40B4-BE49-F238E27FC236}">
                <a16:creationId xmlns:a16="http://schemas.microsoft.com/office/drawing/2014/main" id="{649337E6-8710-4F9B-AE53-FDDFC8849C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601859" y="5410200"/>
            <a:ext cx="1939655" cy="92392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Click to add partner logos</a:t>
            </a:r>
          </a:p>
        </p:txBody>
      </p:sp>
      <p:sp>
        <p:nvSpPr>
          <p:cNvPr id="80" name="Picture Placeholder 2">
            <a:extLst>
              <a:ext uri="{FF2B5EF4-FFF2-40B4-BE49-F238E27FC236}">
                <a16:creationId xmlns:a16="http://schemas.microsoft.com/office/drawing/2014/main" id="{2E04A960-7ECB-4B73-A38E-482CE39F43D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703656" y="5410200"/>
            <a:ext cx="1939655" cy="92392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Click to add partner logos</a:t>
            </a:r>
          </a:p>
        </p:txBody>
      </p:sp>
      <p:sp>
        <p:nvSpPr>
          <p:cNvPr id="81" name="Text Placeholder 135">
            <a:extLst>
              <a:ext uri="{FF2B5EF4-FFF2-40B4-BE49-F238E27FC236}">
                <a16:creationId xmlns:a16="http://schemas.microsoft.com/office/drawing/2014/main" id="{440AA25A-4016-4893-8A83-7E43934203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601859" y="630906"/>
            <a:ext cx="288000" cy="10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27246302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C-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890DF213-662F-4F0F-AF3A-12E90D6AB403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5999291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600"/>
              </a:spcAft>
              <a:buNone/>
              <a:defRPr sz="3800" b="1">
                <a:solidFill>
                  <a:schemeClr val="tx2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131" name="Group 4">
            <a:extLst>
              <a:ext uri="{FF2B5EF4-FFF2-40B4-BE49-F238E27FC236}">
                <a16:creationId xmlns:a16="http://schemas.microsoft.com/office/drawing/2014/main" id="{952F8D34-531B-4437-B768-1A058C4F580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07255" y="616633"/>
            <a:ext cx="1256780" cy="1260000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132" name="AutoShape 3">
              <a:extLst>
                <a:ext uri="{FF2B5EF4-FFF2-40B4-BE49-F238E27FC236}">
                  <a16:creationId xmlns:a16="http://schemas.microsoft.com/office/drawing/2014/main" id="{BBEC651D-9DEC-4A01-B480-D5E4B2FC290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3" name="Rectangle 5">
              <a:extLst>
                <a:ext uri="{FF2B5EF4-FFF2-40B4-BE49-F238E27FC236}">
                  <a16:creationId xmlns:a16="http://schemas.microsoft.com/office/drawing/2014/main" id="{8AC4D9D0-269C-4ACF-BF70-19CF3F874F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4" name="Freeform 6">
              <a:extLst>
                <a:ext uri="{FF2B5EF4-FFF2-40B4-BE49-F238E27FC236}">
                  <a16:creationId xmlns:a16="http://schemas.microsoft.com/office/drawing/2014/main" id="{78D091DD-3D29-4E85-A4F2-B1EF73815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5" name="Freeform 7">
              <a:extLst>
                <a:ext uri="{FF2B5EF4-FFF2-40B4-BE49-F238E27FC236}">
                  <a16:creationId xmlns:a16="http://schemas.microsoft.com/office/drawing/2014/main" id="{41F39217-4860-4557-92E4-3744C451F0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6" name="Freeform 8">
              <a:extLst>
                <a:ext uri="{FF2B5EF4-FFF2-40B4-BE49-F238E27FC236}">
                  <a16:creationId xmlns:a16="http://schemas.microsoft.com/office/drawing/2014/main" id="{E8E8E316-21E4-4CC2-ADF5-C4F81235C3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7" name="Freeform 9">
              <a:extLst>
                <a:ext uri="{FF2B5EF4-FFF2-40B4-BE49-F238E27FC236}">
                  <a16:creationId xmlns:a16="http://schemas.microsoft.com/office/drawing/2014/main" id="{1D3C1F05-2CE2-4C38-A4B0-481C61982A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8" name="Freeform 10">
              <a:extLst>
                <a:ext uri="{FF2B5EF4-FFF2-40B4-BE49-F238E27FC236}">
                  <a16:creationId xmlns:a16="http://schemas.microsoft.com/office/drawing/2014/main" id="{B93800B0-DBA3-4D0A-9F1B-C254419B35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9" name="Freeform 11">
              <a:extLst>
                <a:ext uri="{FF2B5EF4-FFF2-40B4-BE49-F238E27FC236}">
                  <a16:creationId xmlns:a16="http://schemas.microsoft.com/office/drawing/2014/main" id="{DA73D27E-D033-4C84-A492-8DAC896B6E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1" name="Freeform 12">
              <a:extLst>
                <a:ext uri="{FF2B5EF4-FFF2-40B4-BE49-F238E27FC236}">
                  <a16:creationId xmlns:a16="http://schemas.microsoft.com/office/drawing/2014/main" id="{74F6F1BE-8465-4B37-9FA1-D0E1A2E48B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2" name="Freeform 13">
              <a:extLst>
                <a:ext uri="{FF2B5EF4-FFF2-40B4-BE49-F238E27FC236}">
                  <a16:creationId xmlns:a16="http://schemas.microsoft.com/office/drawing/2014/main" id="{9EE5749B-5072-41F9-A57E-284E0A6046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3" name="Freeform 14">
              <a:extLst>
                <a:ext uri="{FF2B5EF4-FFF2-40B4-BE49-F238E27FC236}">
                  <a16:creationId xmlns:a16="http://schemas.microsoft.com/office/drawing/2014/main" id="{2DBB559A-8AB1-47CF-9594-70FFFF07DF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EF6A068B-18BA-48B7-AC57-2231ED0F0A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5" name="Freeform 16">
              <a:extLst>
                <a:ext uri="{FF2B5EF4-FFF2-40B4-BE49-F238E27FC236}">
                  <a16:creationId xmlns:a16="http://schemas.microsoft.com/office/drawing/2014/main" id="{AF34F4D6-E742-4530-A1D5-8CBF297CF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6" name="Freeform 17">
              <a:extLst>
                <a:ext uri="{FF2B5EF4-FFF2-40B4-BE49-F238E27FC236}">
                  <a16:creationId xmlns:a16="http://schemas.microsoft.com/office/drawing/2014/main" id="{FAD1CA84-23AF-476C-9991-F757AE0651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7" name="Freeform 18">
              <a:extLst>
                <a:ext uri="{FF2B5EF4-FFF2-40B4-BE49-F238E27FC236}">
                  <a16:creationId xmlns:a16="http://schemas.microsoft.com/office/drawing/2014/main" id="{ACAEC108-E142-43B0-8B21-F856F93881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8" name="Freeform 19">
              <a:extLst>
                <a:ext uri="{FF2B5EF4-FFF2-40B4-BE49-F238E27FC236}">
                  <a16:creationId xmlns:a16="http://schemas.microsoft.com/office/drawing/2014/main" id="{C85C54C2-C1F3-4F46-AA95-330CA1FBCC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9" name="Freeform 20">
              <a:extLst>
                <a:ext uri="{FF2B5EF4-FFF2-40B4-BE49-F238E27FC236}">
                  <a16:creationId xmlns:a16="http://schemas.microsoft.com/office/drawing/2014/main" id="{DE512848-C980-40EA-8C56-CE3DC8433D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0" name="Rectangle 21">
              <a:extLst>
                <a:ext uri="{FF2B5EF4-FFF2-40B4-BE49-F238E27FC236}">
                  <a16:creationId xmlns:a16="http://schemas.microsoft.com/office/drawing/2014/main" id="{41E59601-BD60-43C2-A624-31E8A46608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1" name="Freeform 22">
              <a:extLst>
                <a:ext uri="{FF2B5EF4-FFF2-40B4-BE49-F238E27FC236}">
                  <a16:creationId xmlns:a16="http://schemas.microsoft.com/office/drawing/2014/main" id="{2FC897BB-D4BC-4B93-BD1F-3FCB8A51B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2" name="Freeform 23">
              <a:extLst>
                <a:ext uri="{FF2B5EF4-FFF2-40B4-BE49-F238E27FC236}">
                  <a16:creationId xmlns:a16="http://schemas.microsoft.com/office/drawing/2014/main" id="{37CB6FDA-B6C4-4A87-9AEB-E2CC768696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3" name="Freeform 24">
              <a:extLst>
                <a:ext uri="{FF2B5EF4-FFF2-40B4-BE49-F238E27FC236}">
                  <a16:creationId xmlns:a16="http://schemas.microsoft.com/office/drawing/2014/main" id="{9EB636E2-EA73-47E1-B9D1-41B5E1183A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4" name="Freeform 25">
              <a:extLst>
                <a:ext uri="{FF2B5EF4-FFF2-40B4-BE49-F238E27FC236}">
                  <a16:creationId xmlns:a16="http://schemas.microsoft.com/office/drawing/2014/main" id="{A1D24BE6-E7F9-419E-9038-3487821748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5" name="Freeform 26">
              <a:extLst>
                <a:ext uri="{FF2B5EF4-FFF2-40B4-BE49-F238E27FC236}">
                  <a16:creationId xmlns:a16="http://schemas.microsoft.com/office/drawing/2014/main" id="{03218CF4-4C2B-499B-A778-31F5E5F57B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6" name="Freeform 27">
              <a:extLst>
                <a:ext uri="{FF2B5EF4-FFF2-40B4-BE49-F238E27FC236}">
                  <a16:creationId xmlns:a16="http://schemas.microsoft.com/office/drawing/2014/main" id="{173799A0-ECB5-493E-9E49-2EA45E4248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7" name="Freeform 28">
              <a:extLst>
                <a:ext uri="{FF2B5EF4-FFF2-40B4-BE49-F238E27FC236}">
                  <a16:creationId xmlns:a16="http://schemas.microsoft.com/office/drawing/2014/main" id="{33E96A3F-7E78-4890-94D5-D7E3CB3B23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8" name="Freeform 29">
              <a:extLst>
                <a:ext uri="{FF2B5EF4-FFF2-40B4-BE49-F238E27FC236}">
                  <a16:creationId xmlns:a16="http://schemas.microsoft.com/office/drawing/2014/main" id="{531E9948-2329-4042-8C88-955E4DCDD7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9" name="Freeform 30">
              <a:extLst>
                <a:ext uri="{FF2B5EF4-FFF2-40B4-BE49-F238E27FC236}">
                  <a16:creationId xmlns:a16="http://schemas.microsoft.com/office/drawing/2014/main" id="{54F08FC5-B24A-449D-BFE5-234C81F9D5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FE60F094-8651-44F7-800A-5C5878936E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1" name="Freeform 32">
              <a:extLst>
                <a:ext uri="{FF2B5EF4-FFF2-40B4-BE49-F238E27FC236}">
                  <a16:creationId xmlns:a16="http://schemas.microsoft.com/office/drawing/2014/main" id="{97B6F0CB-D65A-4FE1-82D0-C900FE691B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2" name="Freeform 34">
              <a:extLst>
                <a:ext uri="{FF2B5EF4-FFF2-40B4-BE49-F238E27FC236}">
                  <a16:creationId xmlns:a16="http://schemas.microsoft.com/office/drawing/2014/main" id="{C5EA344F-8008-488F-91D7-61F621AFAF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3" name="Freeform 35">
              <a:extLst>
                <a:ext uri="{FF2B5EF4-FFF2-40B4-BE49-F238E27FC236}">
                  <a16:creationId xmlns:a16="http://schemas.microsoft.com/office/drawing/2014/main" id="{E3D1E55F-4B1E-4DF3-A491-0D8570B298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4" name="Freeform 36">
              <a:extLst>
                <a:ext uri="{FF2B5EF4-FFF2-40B4-BE49-F238E27FC236}">
                  <a16:creationId xmlns:a16="http://schemas.microsoft.com/office/drawing/2014/main" id="{E873DE5C-24B0-4BF4-8297-4BA1E4AAFF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5" name="Freeform 37">
              <a:extLst>
                <a:ext uri="{FF2B5EF4-FFF2-40B4-BE49-F238E27FC236}">
                  <a16:creationId xmlns:a16="http://schemas.microsoft.com/office/drawing/2014/main" id="{0CB938A8-5CF0-4C5E-984C-0CAEB0C3E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6" name="Freeform 38">
              <a:extLst>
                <a:ext uri="{FF2B5EF4-FFF2-40B4-BE49-F238E27FC236}">
                  <a16:creationId xmlns:a16="http://schemas.microsoft.com/office/drawing/2014/main" id="{78EBBE71-A1CC-4107-AFCC-83E067E576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7" name="Freeform 39">
              <a:extLst>
                <a:ext uri="{FF2B5EF4-FFF2-40B4-BE49-F238E27FC236}">
                  <a16:creationId xmlns:a16="http://schemas.microsoft.com/office/drawing/2014/main" id="{188683EF-DA3F-456E-A35D-B703C1D053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8" name="Freeform 40">
              <a:extLst>
                <a:ext uri="{FF2B5EF4-FFF2-40B4-BE49-F238E27FC236}">
                  <a16:creationId xmlns:a16="http://schemas.microsoft.com/office/drawing/2014/main" id="{67455D6C-9F5E-48F6-9D90-B3BF88850F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9" name="Freeform 41">
              <a:extLst>
                <a:ext uri="{FF2B5EF4-FFF2-40B4-BE49-F238E27FC236}">
                  <a16:creationId xmlns:a16="http://schemas.microsoft.com/office/drawing/2014/main" id="{2049801F-BD8D-4E9D-AAEA-FAFAAC41C8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0" name="Freeform 42">
              <a:extLst>
                <a:ext uri="{FF2B5EF4-FFF2-40B4-BE49-F238E27FC236}">
                  <a16:creationId xmlns:a16="http://schemas.microsoft.com/office/drawing/2014/main" id="{05096163-0CFF-4224-8C90-BA89F552F8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1" name="Freeform 43">
              <a:extLst>
                <a:ext uri="{FF2B5EF4-FFF2-40B4-BE49-F238E27FC236}">
                  <a16:creationId xmlns:a16="http://schemas.microsoft.com/office/drawing/2014/main" id="{F9AE60ED-4BD6-40E5-A3C9-CDC44B29DF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2" name="Freeform 44">
              <a:extLst>
                <a:ext uri="{FF2B5EF4-FFF2-40B4-BE49-F238E27FC236}">
                  <a16:creationId xmlns:a16="http://schemas.microsoft.com/office/drawing/2014/main" id="{DA4117E0-3B90-46EB-B97A-0867BD9DA1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3" name="Freeform 45">
              <a:extLst>
                <a:ext uri="{FF2B5EF4-FFF2-40B4-BE49-F238E27FC236}">
                  <a16:creationId xmlns:a16="http://schemas.microsoft.com/office/drawing/2014/main" id="{761EEC17-AA04-4CC5-B696-C93A624A73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4" name="Freeform 46">
              <a:extLst>
                <a:ext uri="{FF2B5EF4-FFF2-40B4-BE49-F238E27FC236}">
                  <a16:creationId xmlns:a16="http://schemas.microsoft.com/office/drawing/2014/main" id="{19E01E8B-2F3E-4806-9747-A9FD6D7CAB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5" name="Freeform 47">
              <a:extLst>
                <a:ext uri="{FF2B5EF4-FFF2-40B4-BE49-F238E27FC236}">
                  <a16:creationId xmlns:a16="http://schemas.microsoft.com/office/drawing/2014/main" id="{31CE3624-CAB2-42C8-A51A-24F5AB088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6" name="Freeform 48">
              <a:extLst>
                <a:ext uri="{FF2B5EF4-FFF2-40B4-BE49-F238E27FC236}">
                  <a16:creationId xmlns:a16="http://schemas.microsoft.com/office/drawing/2014/main" id="{6046A1D0-D1B4-4EA9-B279-0BB0EB50C4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7" name="Freeform 49">
              <a:extLst>
                <a:ext uri="{FF2B5EF4-FFF2-40B4-BE49-F238E27FC236}">
                  <a16:creationId xmlns:a16="http://schemas.microsoft.com/office/drawing/2014/main" id="{D4B7AB6C-F51F-4D3C-B7AD-C1C1D664E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8" name="Freeform 50">
              <a:extLst>
                <a:ext uri="{FF2B5EF4-FFF2-40B4-BE49-F238E27FC236}">
                  <a16:creationId xmlns:a16="http://schemas.microsoft.com/office/drawing/2014/main" id="{8E10AC4C-338C-4C57-B1AE-E90AD68207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9" name="Freeform 51">
              <a:extLst>
                <a:ext uri="{FF2B5EF4-FFF2-40B4-BE49-F238E27FC236}">
                  <a16:creationId xmlns:a16="http://schemas.microsoft.com/office/drawing/2014/main" id="{34BF4F08-8DEC-4C2B-A2AF-788F7F1E48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0" name="Freeform 52">
              <a:extLst>
                <a:ext uri="{FF2B5EF4-FFF2-40B4-BE49-F238E27FC236}">
                  <a16:creationId xmlns:a16="http://schemas.microsoft.com/office/drawing/2014/main" id="{CFAEED60-DD64-46E7-8E79-CE50C14F1A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1" name="Freeform 53">
              <a:extLst>
                <a:ext uri="{FF2B5EF4-FFF2-40B4-BE49-F238E27FC236}">
                  <a16:creationId xmlns:a16="http://schemas.microsoft.com/office/drawing/2014/main" id="{71261761-F990-43CC-844E-2C0A2477EF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2" name="Freeform 54">
              <a:extLst>
                <a:ext uri="{FF2B5EF4-FFF2-40B4-BE49-F238E27FC236}">
                  <a16:creationId xmlns:a16="http://schemas.microsoft.com/office/drawing/2014/main" id="{D4D822F0-487A-41CD-89A2-BFEAF94DA3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3" name="Freeform 55">
              <a:extLst>
                <a:ext uri="{FF2B5EF4-FFF2-40B4-BE49-F238E27FC236}">
                  <a16:creationId xmlns:a16="http://schemas.microsoft.com/office/drawing/2014/main" id="{64127AD4-1815-4284-AA88-8E4CBE2BEB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4" name="Freeform 56">
              <a:extLst>
                <a:ext uri="{FF2B5EF4-FFF2-40B4-BE49-F238E27FC236}">
                  <a16:creationId xmlns:a16="http://schemas.microsoft.com/office/drawing/2014/main" id="{BD21305C-D290-41CE-8BC3-99457C64FB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5" name="Freeform 57">
              <a:extLst>
                <a:ext uri="{FF2B5EF4-FFF2-40B4-BE49-F238E27FC236}">
                  <a16:creationId xmlns:a16="http://schemas.microsoft.com/office/drawing/2014/main" id="{C54B15DF-E6D7-4531-BBF7-8FF9AA9A4B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6" name="Freeform 58">
              <a:extLst>
                <a:ext uri="{FF2B5EF4-FFF2-40B4-BE49-F238E27FC236}">
                  <a16:creationId xmlns:a16="http://schemas.microsoft.com/office/drawing/2014/main" id="{4D304613-492C-427C-A02E-E05ACE6B32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7" name="Freeform 59">
              <a:extLst>
                <a:ext uri="{FF2B5EF4-FFF2-40B4-BE49-F238E27FC236}">
                  <a16:creationId xmlns:a16="http://schemas.microsoft.com/office/drawing/2014/main" id="{52AED092-BCE9-47D3-8D39-F2C4684C61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8" name="Freeform 60">
              <a:extLst>
                <a:ext uri="{FF2B5EF4-FFF2-40B4-BE49-F238E27FC236}">
                  <a16:creationId xmlns:a16="http://schemas.microsoft.com/office/drawing/2014/main" id="{E9BCC919-A30E-4FA5-91D6-D4CA02EF09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9" name="Freeform 61">
              <a:extLst>
                <a:ext uri="{FF2B5EF4-FFF2-40B4-BE49-F238E27FC236}">
                  <a16:creationId xmlns:a16="http://schemas.microsoft.com/office/drawing/2014/main" id="{6CFE3E2A-8488-4AFD-ABAE-938C82F379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0" name="Freeform 62">
              <a:extLst>
                <a:ext uri="{FF2B5EF4-FFF2-40B4-BE49-F238E27FC236}">
                  <a16:creationId xmlns:a16="http://schemas.microsoft.com/office/drawing/2014/main" id="{AE6E86CC-9825-414A-B885-AD3D5F84D6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</p:grp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BABC578D-5081-452E-A28F-C835C1DA64A1}"/>
              </a:ext>
            </a:extLst>
          </p:cNvPr>
          <p:cNvSpPr/>
          <p:nvPr userDrawn="1"/>
        </p:nvSpPr>
        <p:spPr>
          <a:xfrm>
            <a:off x="6499358" y="-1"/>
            <a:ext cx="5704638" cy="6879660"/>
          </a:xfrm>
          <a:custGeom>
            <a:avLst/>
            <a:gdLst>
              <a:gd name="connsiteX0" fmla="*/ 1684339 w 5704638"/>
              <a:gd name="connsiteY0" fmla="*/ 0 h 6879660"/>
              <a:gd name="connsiteX1" fmla="*/ 5704638 w 5704638"/>
              <a:gd name="connsiteY1" fmla="*/ 0 h 6879660"/>
              <a:gd name="connsiteX2" fmla="*/ 5704638 w 5704638"/>
              <a:gd name="connsiteY2" fmla="*/ 6879660 h 6879660"/>
              <a:gd name="connsiteX3" fmla="*/ 1684339 w 5704638"/>
              <a:gd name="connsiteY3" fmla="*/ 6879660 h 6879660"/>
              <a:gd name="connsiteX4" fmla="*/ 0 w 5704638"/>
              <a:gd name="connsiteY4" fmla="*/ 6437231 h 6879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04638" h="6879660">
                <a:moveTo>
                  <a:pt x="1684339" y="0"/>
                </a:moveTo>
                <a:lnTo>
                  <a:pt x="5704638" y="0"/>
                </a:lnTo>
                <a:lnTo>
                  <a:pt x="5704638" y="6879660"/>
                </a:lnTo>
                <a:lnTo>
                  <a:pt x="1684339" y="6879660"/>
                </a:lnTo>
                <a:lnTo>
                  <a:pt x="0" y="6437231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36836" t="-3166" r="-52387" b="-578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2" name="Text Placeholder 140">
            <a:extLst>
              <a:ext uri="{FF2B5EF4-FFF2-40B4-BE49-F238E27FC236}">
                <a16:creationId xmlns:a16="http://schemas.microsoft.com/office/drawing/2014/main" id="{47EAFC36-6B42-4718-B950-E73D679183E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2" y="5394937"/>
            <a:ext cx="4772203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tx2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66" name="Text Placeholder 135">
            <a:extLst>
              <a:ext uri="{FF2B5EF4-FFF2-40B4-BE49-F238E27FC236}">
                <a16:creationId xmlns:a16="http://schemas.microsoft.com/office/drawing/2014/main" id="{A2C5AC15-2F83-4DFF-A7D6-FDC451DF0F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29204199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C-Commun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890DF213-662F-4F0F-AF3A-12E90D6AB403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5999291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600"/>
              </a:spcAft>
              <a:buNone/>
              <a:defRPr sz="3800" b="1">
                <a:solidFill>
                  <a:schemeClr val="tx2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131" name="Group 4">
            <a:extLst>
              <a:ext uri="{FF2B5EF4-FFF2-40B4-BE49-F238E27FC236}">
                <a16:creationId xmlns:a16="http://schemas.microsoft.com/office/drawing/2014/main" id="{952F8D34-531B-4437-B768-1A058C4F580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07255" y="616633"/>
            <a:ext cx="1256780" cy="1260000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132" name="AutoShape 3">
              <a:extLst>
                <a:ext uri="{FF2B5EF4-FFF2-40B4-BE49-F238E27FC236}">
                  <a16:creationId xmlns:a16="http://schemas.microsoft.com/office/drawing/2014/main" id="{BBEC651D-9DEC-4A01-B480-D5E4B2FC290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3" name="Rectangle 5">
              <a:extLst>
                <a:ext uri="{FF2B5EF4-FFF2-40B4-BE49-F238E27FC236}">
                  <a16:creationId xmlns:a16="http://schemas.microsoft.com/office/drawing/2014/main" id="{8AC4D9D0-269C-4ACF-BF70-19CF3F874F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4" name="Freeform 6">
              <a:extLst>
                <a:ext uri="{FF2B5EF4-FFF2-40B4-BE49-F238E27FC236}">
                  <a16:creationId xmlns:a16="http://schemas.microsoft.com/office/drawing/2014/main" id="{78D091DD-3D29-4E85-A4F2-B1EF73815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5" name="Freeform 7">
              <a:extLst>
                <a:ext uri="{FF2B5EF4-FFF2-40B4-BE49-F238E27FC236}">
                  <a16:creationId xmlns:a16="http://schemas.microsoft.com/office/drawing/2014/main" id="{41F39217-4860-4557-92E4-3744C451F0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6" name="Freeform 8">
              <a:extLst>
                <a:ext uri="{FF2B5EF4-FFF2-40B4-BE49-F238E27FC236}">
                  <a16:creationId xmlns:a16="http://schemas.microsoft.com/office/drawing/2014/main" id="{E8E8E316-21E4-4CC2-ADF5-C4F81235C3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7" name="Freeform 9">
              <a:extLst>
                <a:ext uri="{FF2B5EF4-FFF2-40B4-BE49-F238E27FC236}">
                  <a16:creationId xmlns:a16="http://schemas.microsoft.com/office/drawing/2014/main" id="{1D3C1F05-2CE2-4C38-A4B0-481C61982A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8" name="Freeform 10">
              <a:extLst>
                <a:ext uri="{FF2B5EF4-FFF2-40B4-BE49-F238E27FC236}">
                  <a16:creationId xmlns:a16="http://schemas.microsoft.com/office/drawing/2014/main" id="{B93800B0-DBA3-4D0A-9F1B-C254419B35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9" name="Freeform 11">
              <a:extLst>
                <a:ext uri="{FF2B5EF4-FFF2-40B4-BE49-F238E27FC236}">
                  <a16:creationId xmlns:a16="http://schemas.microsoft.com/office/drawing/2014/main" id="{DA73D27E-D033-4C84-A492-8DAC896B6E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1" name="Freeform 12">
              <a:extLst>
                <a:ext uri="{FF2B5EF4-FFF2-40B4-BE49-F238E27FC236}">
                  <a16:creationId xmlns:a16="http://schemas.microsoft.com/office/drawing/2014/main" id="{74F6F1BE-8465-4B37-9FA1-D0E1A2E48B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2" name="Freeform 13">
              <a:extLst>
                <a:ext uri="{FF2B5EF4-FFF2-40B4-BE49-F238E27FC236}">
                  <a16:creationId xmlns:a16="http://schemas.microsoft.com/office/drawing/2014/main" id="{9EE5749B-5072-41F9-A57E-284E0A6046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3" name="Freeform 14">
              <a:extLst>
                <a:ext uri="{FF2B5EF4-FFF2-40B4-BE49-F238E27FC236}">
                  <a16:creationId xmlns:a16="http://schemas.microsoft.com/office/drawing/2014/main" id="{2DBB559A-8AB1-47CF-9594-70FFFF07DF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EF6A068B-18BA-48B7-AC57-2231ED0F0A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5" name="Freeform 16">
              <a:extLst>
                <a:ext uri="{FF2B5EF4-FFF2-40B4-BE49-F238E27FC236}">
                  <a16:creationId xmlns:a16="http://schemas.microsoft.com/office/drawing/2014/main" id="{AF34F4D6-E742-4530-A1D5-8CBF297CF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6" name="Freeform 17">
              <a:extLst>
                <a:ext uri="{FF2B5EF4-FFF2-40B4-BE49-F238E27FC236}">
                  <a16:creationId xmlns:a16="http://schemas.microsoft.com/office/drawing/2014/main" id="{FAD1CA84-23AF-476C-9991-F757AE0651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7" name="Freeform 18">
              <a:extLst>
                <a:ext uri="{FF2B5EF4-FFF2-40B4-BE49-F238E27FC236}">
                  <a16:creationId xmlns:a16="http://schemas.microsoft.com/office/drawing/2014/main" id="{ACAEC108-E142-43B0-8B21-F856F93881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8" name="Freeform 19">
              <a:extLst>
                <a:ext uri="{FF2B5EF4-FFF2-40B4-BE49-F238E27FC236}">
                  <a16:creationId xmlns:a16="http://schemas.microsoft.com/office/drawing/2014/main" id="{C85C54C2-C1F3-4F46-AA95-330CA1FBCC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9" name="Freeform 20">
              <a:extLst>
                <a:ext uri="{FF2B5EF4-FFF2-40B4-BE49-F238E27FC236}">
                  <a16:creationId xmlns:a16="http://schemas.microsoft.com/office/drawing/2014/main" id="{DE512848-C980-40EA-8C56-CE3DC8433D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0" name="Rectangle 21">
              <a:extLst>
                <a:ext uri="{FF2B5EF4-FFF2-40B4-BE49-F238E27FC236}">
                  <a16:creationId xmlns:a16="http://schemas.microsoft.com/office/drawing/2014/main" id="{41E59601-BD60-43C2-A624-31E8A46608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1" name="Freeform 22">
              <a:extLst>
                <a:ext uri="{FF2B5EF4-FFF2-40B4-BE49-F238E27FC236}">
                  <a16:creationId xmlns:a16="http://schemas.microsoft.com/office/drawing/2014/main" id="{2FC897BB-D4BC-4B93-BD1F-3FCB8A51B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2" name="Freeform 23">
              <a:extLst>
                <a:ext uri="{FF2B5EF4-FFF2-40B4-BE49-F238E27FC236}">
                  <a16:creationId xmlns:a16="http://schemas.microsoft.com/office/drawing/2014/main" id="{37CB6FDA-B6C4-4A87-9AEB-E2CC768696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3" name="Freeform 24">
              <a:extLst>
                <a:ext uri="{FF2B5EF4-FFF2-40B4-BE49-F238E27FC236}">
                  <a16:creationId xmlns:a16="http://schemas.microsoft.com/office/drawing/2014/main" id="{9EB636E2-EA73-47E1-B9D1-41B5E1183A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4" name="Freeform 25">
              <a:extLst>
                <a:ext uri="{FF2B5EF4-FFF2-40B4-BE49-F238E27FC236}">
                  <a16:creationId xmlns:a16="http://schemas.microsoft.com/office/drawing/2014/main" id="{A1D24BE6-E7F9-419E-9038-3487821748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5" name="Freeform 26">
              <a:extLst>
                <a:ext uri="{FF2B5EF4-FFF2-40B4-BE49-F238E27FC236}">
                  <a16:creationId xmlns:a16="http://schemas.microsoft.com/office/drawing/2014/main" id="{03218CF4-4C2B-499B-A778-31F5E5F57B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6" name="Freeform 27">
              <a:extLst>
                <a:ext uri="{FF2B5EF4-FFF2-40B4-BE49-F238E27FC236}">
                  <a16:creationId xmlns:a16="http://schemas.microsoft.com/office/drawing/2014/main" id="{173799A0-ECB5-493E-9E49-2EA45E4248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7" name="Freeform 28">
              <a:extLst>
                <a:ext uri="{FF2B5EF4-FFF2-40B4-BE49-F238E27FC236}">
                  <a16:creationId xmlns:a16="http://schemas.microsoft.com/office/drawing/2014/main" id="{33E96A3F-7E78-4890-94D5-D7E3CB3B23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8" name="Freeform 29">
              <a:extLst>
                <a:ext uri="{FF2B5EF4-FFF2-40B4-BE49-F238E27FC236}">
                  <a16:creationId xmlns:a16="http://schemas.microsoft.com/office/drawing/2014/main" id="{531E9948-2329-4042-8C88-955E4DCDD7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9" name="Freeform 30">
              <a:extLst>
                <a:ext uri="{FF2B5EF4-FFF2-40B4-BE49-F238E27FC236}">
                  <a16:creationId xmlns:a16="http://schemas.microsoft.com/office/drawing/2014/main" id="{54F08FC5-B24A-449D-BFE5-234C81F9D5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FE60F094-8651-44F7-800A-5C5878936E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1" name="Freeform 32">
              <a:extLst>
                <a:ext uri="{FF2B5EF4-FFF2-40B4-BE49-F238E27FC236}">
                  <a16:creationId xmlns:a16="http://schemas.microsoft.com/office/drawing/2014/main" id="{97B6F0CB-D65A-4FE1-82D0-C900FE691B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2" name="Freeform 34">
              <a:extLst>
                <a:ext uri="{FF2B5EF4-FFF2-40B4-BE49-F238E27FC236}">
                  <a16:creationId xmlns:a16="http://schemas.microsoft.com/office/drawing/2014/main" id="{C5EA344F-8008-488F-91D7-61F621AFAF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3" name="Freeform 35">
              <a:extLst>
                <a:ext uri="{FF2B5EF4-FFF2-40B4-BE49-F238E27FC236}">
                  <a16:creationId xmlns:a16="http://schemas.microsoft.com/office/drawing/2014/main" id="{E3D1E55F-4B1E-4DF3-A491-0D8570B298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4" name="Freeform 36">
              <a:extLst>
                <a:ext uri="{FF2B5EF4-FFF2-40B4-BE49-F238E27FC236}">
                  <a16:creationId xmlns:a16="http://schemas.microsoft.com/office/drawing/2014/main" id="{E873DE5C-24B0-4BF4-8297-4BA1E4AAFF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5" name="Freeform 37">
              <a:extLst>
                <a:ext uri="{FF2B5EF4-FFF2-40B4-BE49-F238E27FC236}">
                  <a16:creationId xmlns:a16="http://schemas.microsoft.com/office/drawing/2014/main" id="{0CB938A8-5CF0-4C5E-984C-0CAEB0C3E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6" name="Freeform 38">
              <a:extLst>
                <a:ext uri="{FF2B5EF4-FFF2-40B4-BE49-F238E27FC236}">
                  <a16:creationId xmlns:a16="http://schemas.microsoft.com/office/drawing/2014/main" id="{78EBBE71-A1CC-4107-AFCC-83E067E576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7" name="Freeform 39">
              <a:extLst>
                <a:ext uri="{FF2B5EF4-FFF2-40B4-BE49-F238E27FC236}">
                  <a16:creationId xmlns:a16="http://schemas.microsoft.com/office/drawing/2014/main" id="{188683EF-DA3F-456E-A35D-B703C1D053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8" name="Freeform 40">
              <a:extLst>
                <a:ext uri="{FF2B5EF4-FFF2-40B4-BE49-F238E27FC236}">
                  <a16:creationId xmlns:a16="http://schemas.microsoft.com/office/drawing/2014/main" id="{67455D6C-9F5E-48F6-9D90-B3BF88850F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9" name="Freeform 41">
              <a:extLst>
                <a:ext uri="{FF2B5EF4-FFF2-40B4-BE49-F238E27FC236}">
                  <a16:creationId xmlns:a16="http://schemas.microsoft.com/office/drawing/2014/main" id="{2049801F-BD8D-4E9D-AAEA-FAFAAC41C8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0" name="Freeform 42">
              <a:extLst>
                <a:ext uri="{FF2B5EF4-FFF2-40B4-BE49-F238E27FC236}">
                  <a16:creationId xmlns:a16="http://schemas.microsoft.com/office/drawing/2014/main" id="{05096163-0CFF-4224-8C90-BA89F552F8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1" name="Freeform 43">
              <a:extLst>
                <a:ext uri="{FF2B5EF4-FFF2-40B4-BE49-F238E27FC236}">
                  <a16:creationId xmlns:a16="http://schemas.microsoft.com/office/drawing/2014/main" id="{F9AE60ED-4BD6-40E5-A3C9-CDC44B29DF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2" name="Freeform 44">
              <a:extLst>
                <a:ext uri="{FF2B5EF4-FFF2-40B4-BE49-F238E27FC236}">
                  <a16:creationId xmlns:a16="http://schemas.microsoft.com/office/drawing/2014/main" id="{DA4117E0-3B90-46EB-B97A-0867BD9DA1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3" name="Freeform 45">
              <a:extLst>
                <a:ext uri="{FF2B5EF4-FFF2-40B4-BE49-F238E27FC236}">
                  <a16:creationId xmlns:a16="http://schemas.microsoft.com/office/drawing/2014/main" id="{761EEC17-AA04-4CC5-B696-C93A624A73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4" name="Freeform 46">
              <a:extLst>
                <a:ext uri="{FF2B5EF4-FFF2-40B4-BE49-F238E27FC236}">
                  <a16:creationId xmlns:a16="http://schemas.microsoft.com/office/drawing/2014/main" id="{19E01E8B-2F3E-4806-9747-A9FD6D7CAB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5" name="Freeform 47">
              <a:extLst>
                <a:ext uri="{FF2B5EF4-FFF2-40B4-BE49-F238E27FC236}">
                  <a16:creationId xmlns:a16="http://schemas.microsoft.com/office/drawing/2014/main" id="{31CE3624-CAB2-42C8-A51A-24F5AB088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6" name="Freeform 48">
              <a:extLst>
                <a:ext uri="{FF2B5EF4-FFF2-40B4-BE49-F238E27FC236}">
                  <a16:creationId xmlns:a16="http://schemas.microsoft.com/office/drawing/2014/main" id="{6046A1D0-D1B4-4EA9-B279-0BB0EB50C4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7" name="Freeform 49">
              <a:extLst>
                <a:ext uri="{FF2B5EF4-FFF2-40B4-BE49-F238E27FC236}">
                  <a16:creationId xmlns:a16="http://schemas.microsoft.com/office/drawing/2014/main" id="{D4B7AB6C-F51F-4D3C-B7AD-C1C1D664E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8" name="Freeform 50">
              <a:extLst>
                <a:ext uri="{FF2B5EF4-FFF2-40B4-BE49-F238E27FC236}">
                  <a16:creationId xmlns:a16="http://schemas.microsoft.com/office/drawing/2014/main" id="{8E10AC4C-338C-4C57-B1AE-E90AD68207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9" name="Freeform 51">
              <a:extLst>
                <a:ext uri="{FF2B5EF4-FFF2-40B4-BE49-F238E27FC236}">
                  <a16:creationId xmlns:a16="http://schemas.microsoft.com/office/drawing/2014/main" id="{34BF4F08-8DEC-4C2B-A2AF-788F7F1E48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0" name="Freeform 52">
              <a:extLst>
                <a:ext uri="{FF2B5EF4-FFF2-40B4-BE49-F238E27FC236}">
                  <a16:creationId xmlns:a16="http://schemas.microsoft.com/office/drawing/2014/main" id="{CFAEED60-DD64-46E7-8E79-CE50C14F1A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1" name="Freeform 53">
              <a:extLst>
                <a:ext uri="{FF2B5EF4-FFF2-40B4-BE49-F238E27FC236}">
                  <a16:creationId xmlns:a16="http://schemas.microsoft.com/office/drawing/2014/main" id="{71261761-F990-43CC-844E-2C0A2477EF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2" name="Freeform 54">
              <a:extLst>
                <a:ext uri="{FF2B5EF4-FFF2-40B4-BE49-F238E27FC236}">
                  <a16:creationId xmlns:a16="http://schemas.microsoft.com/office/drawing/2014/main" id="{D4D822F0-487A-41CD-89A2-BFEAF94DA3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3" name="Freeform 55">
              <a:extLst>
                <a:ext uri="{FF2B5EF4-FFF2-40B4-BE49-F238E27FC236}">
                  <a16:creationId xmlns:a16="http://schemas.microsoft.com/office/drawing/2014/main" id="{64127AD4-1815-4284-AA88-8E4CBE2BEB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4" name="Freeform 56">
              <a:extLst>
                <a:ext uri="{FF2B5EF4-FFF2-40B4-BE49-F238E27FC236}">
                  <a16:creationId xmlns:a16="http://schemas.microsoft.com/office/drawing/2014/main" id="{BD21305C-D290-41CE-8BC3-99457C64FB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5" name="Freeform 57">
              <a:extLst>
                <a:ext uri="{FF2B5EF4-FFF2-40B4-BE49-F238E27FC236}">
                  <a16:creationId xmlns:a16="http://schemas.microsoft.com/office/drawing/2014/main" id="{C54B15DF-E6D7-4531-BBF7-8FF9AA9A4B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6" name="Freeform 58">
              <a:extLst>
                <a:ext uri="{FF2B5EF4-FFF2-40B4-BE49-F238E27FC236}">
                  <a16:creationId xmlns:a16="http://schemas.microsoft.com/office/drawing/2014/main" id="{4D304613-492C-427C-A02E-E05ACE6B32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7" name="Freeform 59">
              <a:extLst>
                <a:ext uri="{FF2B5EF4-FFF2-40B4-BE49-F238E27FC236}">
                  <a16:creationId xmlns:a16="http://schemas.microsoft.com/office/drawing/2014/main" id="{52AED092-BCE9-47D3-8D39-F2C4684C61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8" name="Freeform 60">
              <a:extLst>
                <a:ext uri="{FF2B5EF4-FFF2-40B4-BE49-F238E27FC236}">
                  <a16:creationId xmlns:a16="http://schemas.microsoft.com/office/drawing/2014/main" id="{E9BCC919-A30E-4FA5-91D6-D4CA02EF09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9" name="Freeform 61">
              <a:extLst>
                <a:ext uri="{FF2B5EF4-FFF2-40B4-BE49-F238E27FC236}">
                  <a16:creationId xmlns:a16="http://schemas.microsoft.com/office/drawing/2014/main" id="{6CFE3E2A-8488-4AFD-ABAE-938C82F379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0" name="Freeform 62">
              <a:extLst>
                <a:ext uri="{FF2B5EF4-FFF2-40B4-BE49-F238E27FC236}">
                  <a16:creationId xmlns:a16="http://schemas.microsoft.com/office/drawing/2014/main" id="{AE6E86CC-9825-414A-B885-AD3D5F84D6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</p:grp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BABC578D-5081-452E-A28F-C835C1DA64A1}"/>
              </a:ext>
            </a:extLst>
          </p:cNvPr>
          <p:cNvSpPr/>
          <p:nvPr userDrawn="1"/>
        </p:nvSpPr>
        <p:spPr>
          <a:xfrm>
            <a:off x="6499358" y="-1"/>
            <a:ext cx="5704638" cy="6879660"/>
          </a:xfrm>
          <a:custGeom>
            <a:avLst/>
            <a:gdLst>
              <a:gd name="connsiteX0" fmla="*/ 1684339 w 5704638"/>
              <a:gd name="connsiteY0" fmla="*/ 0 h 6879660"/>
              <a:gd name="connsiteX1" fmla="*/ 5704638 w 5704638"/>
              <a:gd name="connsiteY1" fmla="*/ 0 h 6879660"/>
              <a:gd name="connsiteX2" fmla="*/ 5704638 w 5704638"/>
              <a:gd name="connsiteY2" fmla="*/ 6879660 h 6879660"/>
              <a:gd name="connsiteX3" fmla="*/ 1684339 w 5704638"/>
              <a:gd name="connsiteY3" fmla="*/ 6879660 h 6879660"/>
              <a:gd name="connsiteX4" fmla="*/ 0 w 5704638"/>
              <a:gd name="connsiteY4" fmla="*/ 6437231 h 6879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04638" h="6879660">
                <a:moveTo>
                  <a:pt x="1684339" y="0"/>
                </a:moveTo>
                <a:lnTo>
                  <a:pt x="5704638" y="0"/>
                </a:lnTo>
                <a:lnTo>
                  <a:pt x="5704638" y="6879660"/>
                </a:lnTo>
                <a:lnTo>
                  <a:pt x="1684339" y="6879660"/>
                </a:lnTo>
                <a:lnTo>
                  <a:pt x="0" y="6437231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37082" t="-12072" r="-54824" b="-156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3" name="Text Placeholder 140">
            <a:extLst>
              <a:ext uri="{FF2B5EF4-FFF2-40B4-BE49-F238E27FC236}">
                <a16:creationId xmlns:a16="http://schemas.microsoft.com/office/drawing/2014/main" id="{9A35FC83-B4F8-4E38-8B51-53931CF7E2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2" y="5394937"/>
            <a:ext cx="4772203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tx2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66" name="Text Placeholder 135">
            <a:extLst>
              <a:ext uri="{FF2B5EF4-FFF2-40B4-BE49-F238E27FC236}">
                <a16:creationId xmlns:a16="http://schemas.microsoft.com/office/drawing/2014/main" id="{59D845B7-610D-45D7-886B-50A578383B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181920816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C-Knowled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890DF213-662F-4F0F-AF3A-12E90D6AB403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5999291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600"/>
              </a:spcAft>
              <a:buNone/>
              <a:defRPr sz="3800" b="1">
                <a:solidFill>
                  <a:schemeClr val="tx2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131" name="Group 4">
            <a:extLst>
              <a:ext uri="{FF2B5EF4-FFF2-40B4-BE49-F238E27FC236}">
                <a16:creationId xmlns:a16="http://schemas.microsoft.com/office/drawing/2014/main" id="{952F8D34-531B-4437-B768-1A058C4F580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07255" y="616633"/>
            <a:ext cx="1256780" cy="1260000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132" name="AutoShape 3">
              <a:extLst>
                <a:ext uri="{FF2B5EF4-FFF2-40B4-BE49-F238E27FC236}">
                  <a16:creationId xmlns:a16="http://schemas.microsoft.com/office/drawing/2014/main" id="{BBEC651D-9DEC-4A01-B480-D5E4B2FC290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3" name="Rectangle 5">
              <a:extLst>
                <a:ext uri="{FF2B5EF4-FFF2-40B4-BE49-F238E27FC236}">
                  <a16:creationId xmlns:a16="http://schemas.microsoft.com/office/drawing/2014/main" id="{8AC4D9D0-269C-4ACF-BF70-19CF3F874F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4" name="Freeform 6">
              <a:extLst>
                <a:ext uri="{FF2B5EF4-FFF2-40B4-BE49-F238E27FC236}">
                  <a16:creationId xmlns:a16="http://schemas.microsoft.com/office/drawing/2014/main" id="{78D091DD-3D29-4E85-A4F2-B1EF73815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5" name="Freeform 7">
              <a:extLst>
                <a:ext uri="{FF2B5EF4-FFF2-40B4-BE49-F238E27FC236}">
                  <a16:creationId xmlns:a16="http://schemas.microsoft.com/office/drawing/2014/main" id="{41F39217-4860-4557-92E4-3744C451F0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6" name="Freeform 8">
              <a:extLst>
                <a:ext uri="{FF2B5EF4-FFF2-40B4-BE49-F238E27FC236}">
                  <a16:creationId xmlns:a16="http://schemas.microsoft.com/office/drawing/2014/main" id="{E8E8E316-21E4-4CC2-ADF5-C4F81235C3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7" name="Freeform 9">
              <a:extLst>
                <a:ext uri="{FF2B5EF4-FFF2-40B4-BE49-F238E27FC236}">
                  <a16:creationId xmlns:a16="http://schemas.microsoft.com/office/drawing/2014/main" id="{1D3C1F05-2CE2-4C38-A4B0-481C61982A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8" name="Freeform 10">
              <a:extLst>
                <a:ext uri="{FF2B5EF4-FFF2-40B4-BE49-F238E27FC236}">
                  <a16:creationId xmlns:a16="http://schemas.microsoft.com/office/drawing/2014/main" id="{B93800B0-DBA3-4D0A-9F1B-C254419B35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9" name="Freeform 11">
              <a:extLst>
                <a:ext uri="{FF2B5EF4-FFF2-40B4-BE49-F238E27FC236}">
                  <a16:creationId xmlns:a16="http://schemas.microsoft.com/office/drawing/2014/main" id="{DA73D27E-D033-4C84-A492-8DAC896B6E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1" name="Freeform 12">
              <a:extLst>
                <a:ext uri="{FF2B5EF4-FFF2-40B4-BE49-F238E27FC236}">
                  <a16:creationId xmlns:a16="http://schemas.microsoft.com/office/drawing/2014/main" id="{74F6F1BE-8465-4B37-9FA1-D0E1A2E48B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2" name="Freeform 13">
              <a:extLst>
                <a:ext uri="{FF2B5EF4-FFF2-40B4-BE49-F238E27FC236}">
                  <a16:creationId xmlns:a16="http://schemas.microsoft.com/office/drawing/2014/main" id="{9EE5749B-5072-41F9-A57E-284E0A6046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3" name="Freeform 14">
              <a:extLst>
                <a:ext uri="{FF2B5EF4-FFF2-40B4-BE49-F238E27FC236}">
                  <a16:creationId xmlns:a16="http://schemas.microsoft.com/office/drawing/2014/main" id="{2DBB559A-8AB1-47CF-9594-70FFFF07DF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EF6A068B-18BA-48B7-AC57-2231ED0F0A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5" name="Freeform 16">
              <a:extLst>
                <a:ext uri="{FF2B5EF4-FFF2-40B4-BE49-F238E27FC236}">
                  <a16:creationId xmlns:a16="http://schemas.microsoft.com/office/drawing/2014/main" id="{AF34F4D6-E742-4530-A1D5-8CBF297CF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6" name="Freeform 17">
              <a:extLst>
                <a:ext uri="{FF2B5EF4-FFF2-40B4-BE49-F238E27FC236}">
                  <a16:creationId xmlns:a16="http://schemas.microsoft.com/office/drawing/2014/main" id="{FAD1CA84-23AF-476C-9991-F757AE0651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7" name="Freeform 18">
              <a:extLst>
                <a:ext uri="{FF2B5EF4-FFF2-40B4-BE49-F238E27FC236}">
                  <a16:creationId xmlns:a16="http://schemas.microsoft.com/office/drawing/2014/main" id="{ACAEC108-E142-43B0-8B21-F856F93881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8" name="Freeform 19">
              <a:extLst>
                <a:ext uri="{FF2B5EF4-FFF2-40B4-BE49-F238E27FC236}">
                  <a16:creationId xmlns:a16="http://schemas.microsoft.com/office/drawing/2014/main" id="{C85C54C2-C1F3-4F46-AA95-330CA1FBCC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9" name="Freeform 20">
              <a:extLst>
                <a:ext uri="{FF2B5EF4-FFF2-40B4-BE49-F238E27FC236}">
                  <a16:creationId xmlns:a16="http://schemas.microsoft.com/office/drawing/2014/main" id="{DE512848-C980-40EA-8C56-CE3DC8433D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0" name="Rectangle 21">
              <a:extLst>
                <a:ext uri="{FF2B5EF4-FFF2-40B4-BE49-F238E27FC236}">
                  <a16:creationId xmlns:a16="http://schemas.microsoft.com/office/drawing/2014/main" id="{41E59601-BD60-43C2-A624-31E8A46608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1" name="Freeform 22">
              <a:extLst>
                <a:ext uri="{FF2B5EF4-FFF2-40B4-BE49-F238E27FC236}">
                  <a16:creationId xmlns:a16="http://schemas.microsoft.com/office/drawing/2014/main" id="{2FC897BB-D4BC-4B93-BD1F-3FCB8A51B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2" name="Freeform 23">
              <a:extLst>
                <a:ext uri="{FF2B5EF4-FFF2-40B4-BE49-F238E27FC236}">
                  <a16:creationId xmlns:a16="http://schemas.microsoft.com/office/drawing/2014/main" id="{37CB6FDA-B6C4-4A87-9AEB-E2CC768696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3" name="Freeform 24">
              <a:extLst>
                <a:ext uri="{FF2B5EF4-FFF2-40B4-BE49-F238E27FC236}">
                  <a16:creationId xmlns:a16="http://schemas.microsoft.com/office/drawing/2014/main" id="{9EB636E2-EA73-47E1-B9D1-41B5E1183A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4" name="Freeform 25">
              <a:extLst>
                <a:ext uri="{FF2B5EF4-FFF2-40B4-BE49-F238E27FC236}">
                  <a16:creationId xmlns:a16="http://schemas.microsoft.com/office/drawing/2014/main" id="{A1D24BE6-E7F9-419E-9038-3487821748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5" name="Freeform 26">
              <a:extLst>
                <a:ext uri="{FF2B5EF4-FFF2-40B4-BE49-F238E27FC236}">
                  <a16:creationId xmlns:a16="http://schemas.microsoft.com/office/drawing/2014/main" id="{03218CF4-4C2B-499B-A778-31F5E5F57B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6" name="Freeform 27">
              <a:extLst>
                <a:ext uri="{FF2B5EF4-FFF2-40B4-BE49-F238E27FC236}">
                  <a16:creationId xmlns:a16="http://schemas.microsoft.com/office/drawing/2014/main" id="{173799A0-ECB5-493E-9E49-2EA45E4248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7" name="Freeform 28">
              <a:extLst>
                <a:ext uri="{FF2B5EF4-FFF2-40B4-BE49-F238E27FC236}">
                  <a16:creationId xmlns:a16="http://schemas.microsoft.com/office/drawing/2014/main" id="{33E96A3F-7E78-4890-94D5-D7E3CB3B23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8" name="Freeform 29">
              <a:extLst>
                <a:ext uri="{FF2B5EF4-FFF2-40B4-BE49-F238E27FC236}">
                  <a16:creationId xmlns:a16="http://schemas.microsoft.com/office/drawing/2014/main" id="{531E9948-2329-4042-8C88-955E4DCDD7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9" name="Freeform 30">
              <a:extLst>
                <a:ext uri="{FF2B5EF4-FFF2-40B4-BE49-F238E27FC236}">
                  <a16:creationId xmlns:a16="http://schemas.microsoft.com/office/drawing/2014/main" id="{54F08FC5-B24A-449D-BFE5-234C81F9D5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FE60F094-8651-44F7-800A-5C5878936E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1" name="Freeform 32">
              <a:extLst>
                <a:ext uri="{FF2B5EF4-FFF2-40B4-BE49-F238E27FC236}">
                  <a16:creationId xmlns:a16="http://schemas.microsoft.com/office/drawing/2014/main" id="{97B6F0CB-D65A-4FE1-82D0-C900FE691B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2" name="Freeform 34">
              <a:extLst>
                <a:ext uri="{FF2B5EF4-FFF2-40B4-BE49-F238E27FC236}">
                  <a16:creationId xmlns:a16="http://schemas.microsoft.com/office/drawing/2014/main" id="{C5EA344F-8008-488F-91D7-61F621AFAF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3" name="Freeform 35">
              <a:extLst>
                <a:ext uri="{FF2B5EF4-FFF2-40B4-BE49-F238E27FC236}">
                  <a16:creationId xmlns:a16="http://schemas.microsoft.com/office/drawing/2014/main" id="{E3D1E55F-4B1E-4DF3-A491-0D8570B298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4" name="Freeform 36">
              <a:extLst>
                <a:ext uri="{FF2B5EF4-FFF2-40B4-BE49-F238E27FC236}">
                  <a16:creationId xmlns:a16="http://schemas.microsoft.com/office/drawing/2014/main" id="{E873DE5C-24B0-4BF4-8297-4BA1E4AAFF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5" name="Freeform 37">
              <a:extLst>
                <a:ext uri="{FF2B5EF4-FFF2-40B4-BE49-F238E27FC236}">
                  <a16:creationId xmlns:a16="http://schemas.microsoft.com/office/drawing/2014/main" id="{0CB938A8-5CF0-4C5E-984C-0CAEB0C3E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6" name="Freeform 38">
              <a:extLst>
                <a:ext uri="{FF2B5EF4-FFF2-40B4-BE49-F238E27FC236}">
                  <a16:creationId xmlns:a16="http://schemas.microsoft.com/office/drawing/2014/main" id="{78EBBE71-A1CC-4107-AFCC-83E067E576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7" name="Freeform 39">
              <a:extLst>
                <a:ext uri="{FF2B5EF4-FFF2-40B4-BE49-F238E27FC236}">
                  <a16:creationId xmlns:a16="http://schemas.microsoft.com/office/drawing/2014/main" id="{188683EF-DA3F-456E-A35D-B703C1D053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8" name="Freeform 40">
              <a:extLst>
                <a:ext uri="{FF2B5EF4-FFF2-40B4-BE49-F238E27FC236}">
                  <a16:creationId xmlns:a16="http://schemas.microsoft.com/office/drawing/2014/main" id="{67455D6C-9F5E-48F6-9D90-B3BF88850F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9" name="Freeform 41">
              <a:extLst>
                <a:ext uri="{FF2B5EF4-FFF2-40B4-BE49-F238E27FC236}">
                  <a16:creationId xmlns:a16="http://schemas.microsoft.com/office/drawing/2014/main" id="{2049801F-BD8D-4E9D-AAEA-FAFAAC41C8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0" name="Freeform 42">
              <a:extLst>
                <a:ext uri="{FF2B5EF4-FFF2-40B4-BE49-F238E27FC236}">
                  <a16:creationId xmlns:a16="http://schemas.microsoft.com/office/drawing/2014/main" id="{05096163-0CFF-4224-8C90-BA89F552F8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1" name="Freeform 43">
              <a:extLst>
                <a:ext uri="{FF2B5EF4-FFF2-40B4-BE49-F238E27FC236}">
                  <a16:creationId xmlns:a16="http://schemas.microsoft.com/office/drawing/2014/main" id="{F9AE60ED-4BD6-40E5-A3C9-CDC44B29DF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2" name="Freeform 44">
              <a:extLst>
                <a:ext uri="{FF2B5EF4-FFF2-40B4-BE49-F238E27FC236}">
                  <a16:creationId xmlns:a16="http://schemas.microsoft.com/office/drawing/2014/main" id="{DA4117E0-3B90-46EB-B97A-0867BD9DA1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3" name="Freeform 45">
              <a:extLst>
                <a:ext uri="{FF2B5EF4-FFF2-40B4-BE49-F238E27FC236}">
                  <a16:creationId xmlns:a16="http://schemas.microsoft.com/office/drawing/2014/main" id="{761EEC17-AA04-4CC5-B696-C93A624A73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4" name="Freeform 46">
              <a:extLst>
                <a:ext uri="{FF2B5EF4-FFF2-40B4-BE49-F238E27FC236}">
                  <a16:creationId xmlns:a16="http://schemas.microsoft.com/office/drawing/2014/main" id="{19E01E8B-2F3E-4806-9747-A9FD6D7CAB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5" name="Freeform 47">
              <a:extLst>
                <a:ext uri="{FF2B5EF4-FFF2-40B4-BE49-F238E27FC236}">
                  <a16:creationId xmlns:a16="http://schemas.microsoft.com/office/drawing/2014/main" id="{31CE3624-CAB2-42C8-A51A-24F5AB088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6" name="Freeform 48">
              <a:extLst>
                <a:ext uri="{FF2B5EF4-FFF2-40B4-BE49-F238E27FC236}">
                  <a16:creationId xmlns:a16="http://schemas.microsoft.com/office/drawing/2014/main" id="{6046A1D0-D1B4-4EA9-B279-0BB0EB50C4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7" name="Freeform 49">
              <a:extLst>
                <a:ext uri="{FF2B5EF4-FFF2-40B4-BE49-F238E27FC236}">
                  <a16:creationId xmlns:a16="http://schemas.microsoft.com/office/drawing/2014/main" id="{D4B7AB6C-F51F-4D3C-B7AD-C1C1D664E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8" name="Freeform 50">
              <a:extLst>
                <a:ext uri="{FF2B5EF4-FFF2-40B4-BE49-F238E27FC236}">
                  <a16:creationId xmlns:a16="http://schemas.microsoft.com/office/drawing/2014/main" id="{8E10AC4C-338C-4C57-B1AE-E90AD68207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9" name="Freeform 51">
              <a:extLst>
                <a:ext uri="{FF2B5EF4-FFF2-40B4-BE49-F238E27FC236}">
                  <a16:creationId xmlns:a16="http://schemas.microsoft.com/office/drawing/2014/main" id="{34BF4F08-8DEC-4C2B-A2AF-788F7F1E48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0" name="Freeform 52">
              <a:extLst>
                <a:ext uri="{FF2B5EF4-FFF2-40B4-BE49-F238E27FC236}">
                  <a16:creationId xmlns:a16="http://schemas.microsoft.com/office/drawing/2014/main" id="{CFAEED60-DD64-46E7-8E79-CE50C14F1A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1" name="Freeform 53">
              <a:extLst>
                <a:ext uri="{FF2B5EF4-FFF2-40B4-BE49-F238E27FC236}">
                  <a16:creationId xmlns:a16="http://schemas.microsoft.com/office/drawing/2014/main" id="{71261761-F990-43CC-844E-2C0A2477EF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2" name="Freeform 54">
              <a:extLst>
                <a:ext uri="{FF2B5EF4-FFF2-40B4-BE49-F238E27FC236}">
                  <a16:creationId xmlns:a16="http://schemas.microsoft.com/office/drawing/2014/main" id="{D4D822F0-487A-41CD-89A2-BFEAF94DA3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3" name="Freeform 55">
              <a:extLst>
                <a:ext uri="{FF2B5EF4-FFF2-40B4-BE49-F238E27FC236}">
                  <a16:creationId xmlns:a16="http://schemas.microsoft.com/office/drawing/2014/main" id="{64127AD4-1815-4284-AA88-8E4CBE2BEB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4" name="Freeform 56">
              <a:extLst>
                <a:ext uri="{FF2B5EF4-FFF2-40B4-BE49-F238E27FC236}">
                  <a16:creationId xmlns:a16="http://schemas.microsoft.com/office/drawing/2014/main" id="{BD21305C-D290-41CE-8BC3-99457C64FB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5" name="Freeform 57">
              <a:extLst>
                <a:ext uri="{FF2B5EF4-FFF2-40B4-BE49-F238E27FC236}">
                  <a16:creationId xmlns:a16="http://schemas.microsoft.com/office/drawing/2014/main" id="{C54B15DF-E6D7-4531-BBF7-8FF9AA9A4B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6" name="Freeform 58">
              <a:extLst>
                <a:ext uri="{FF2B5EF4-FFF2-40B4-BE49-F238E27FC236}">
                  <a16:creationId xmlns:a16="http://schemas.microsoft.com/office/drawing/2014/main" id="{4D304613-492C-427C-A02E-E05ACE6B32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7" name="Freeform 59">
              <a:extLst>
                <a:ext uri="{FF2B5EF4-FFF2-40B4-BE49-F238E27FC236}">
                  <a16:creationId xmlns:a16="http://schemas.microsoft.com/office/drawing/2014/main" id="{52AED092-BCE9-47D3-8D39-F2C4684C61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8" name="Freeform 60">
              <a:extLst>
                <a:ext uri="{FF2B5EF4-FFF2-40B4-BE49-F238E27FC236}">
                  <a16:creationId xmlns:a16="http://schemas.microsoft.com/office/drawing/2014/main" id="{E9BCC919-A30E-4FA5-91D6-D4CA02EF09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9" name="Freeform 61">
              <a:extLst>
                <a:ext uri="{FF2B5EF4-FFF2-40B4-BE49-F238E27FC236}">
                  <a16:creationId xmlns:a16="http://schemas.microsoft.com/office/drawing/2014/main" id="{6CFE3E2A-8488-4AFD-ABAE-938C82F379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0" name="Freeform 62">
              <a:extLst>
                <a:ext uri="{FF2B5EF4-FFF2-40B4-BE49-F238E27FC236}">
                  <a16:creationId xmlns:a16="http://schemas.microsoft.com/office/drawing/2014/main" id="{AE6E86CC-9825-414A-B885-AD3D5F84D6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</p:grp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BABC578D-5081-452E-A28F-C835C1DA64A1}"/>
              </a:ext>
            </a:extLst>
          </p:cNvPr>
          <p:cNvSpPr/>
          <p:nvPr userDrawn="1"/>
        </p:nvSpPr>
        <p:spPr>
          <a:xfrm>
            <a:off x="6499358" y="-1"/>
            <a:ext cx="5704638" cy="6879660"/>
          </a:xfrm>
          <a:custGeom>
            <a:avLst/>
            <a:gdLst>
              <a:gd name="connsiteX0" fmla="*/ 1684339 w 5704638"/>
              <a:gd name="connsiteY0" fmla="*/ 0 h 6879660"/>
              <a:gd name="connsiteX1" fmla="*/ 5704638 w 5704638"/>
              <a:gd name="connsiteY1" fmla="*/ 0 h 6879660"/>
              <a:gd name="connsiteX2" fmla="*/ 5704638 w 5704638"/>
              <a:gd name="connsiteY2" fmla="*/ 6879660 h 6879660"/>
              <a:gd name="connsiteX3" fmla="*/ 1684339 w 5704638"/>
              <a:gd name="connsiteY3" fmla="*/ 6879660 h 6879660"/>
              <a:gd name="connsiteX4" fmla="*/ 0 w 5704638"/>
              <a:gd name="connsiteY4" fmla="*/ 6437231 h 6879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04638" h="6879660">
                <a:moveTo>
                  <a:pt x="1684339" y="0"/>
                </a:moveTo>
                <a:lnTo>
                  <a:pt x="5704638" y="0"/>
                </a:lnTo>
                <a:lnTo>
                  <a:pt x="5704638" y="6879660"/>
                </a:lnTo>
                <a:lnTo>
                  <a:pt x="1684339" y="6879660"/>
                </a:lnTo>
                <a:lnTo>
                  <a:pt x="0" y="6437231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30012" t="-12876" r="-48014" b="-132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2" name="Text Placeholder 140">
            <a:extLst>
              <a:ext uri="{FF2B5EF4-FFF2-40B4-BE49-F238E27FC236}">
                <a16:creationId xmlns:a16="http://schemas.microsoft.com/office/drawing/2014/main" id="{97A5019C-6BF2-4398-8DAA-FF283C94EA0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2" y="5394937"/>
            <a:ext cx="4772203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tx2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66" name="Text Placeholder 135">
            <a:extLst>
              <a:ext uri="{FF2B5EF4-FFF2-40B4-BE49-F238E27FC236}">
                <a16:creationId xmlns:a16="http://schemas.microsoft.com/office/drawing/2014/main" id="{47F16148-6109-4250-8F2B-85B5C621F0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15545353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C-Lear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890DF213-662F-4F0F-AF3A-12E90D6AB403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5999291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600"/>
              </a:spcAft>
              <a:buNone/>
              <a:defRPr sz="3800" b="1">
                <a:solidFill>
                  <a:schemeClr val="tx2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131" name="Group 4">
            <a:extLst>
              <a:ext uri="{FF2B5EF4-FFF2-40B4-BE49-F238E27FC236}">
                <a16:creationId xmlns:a16="http://schemas.microsoft.com/office/drawing/2014/main" id="{952F8D34-531B-4437-B768-1A058C4F580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07255" y="616633"/>
            <a:ext cx="1256780" cy="1260000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132" name="AutoShape 3">
              <a:extLst>
                <a:ext uri="{FF2B5EF4-FFF2-40B4-BE49-F238E27FC236}">
                  <a16:creationId xmlns:a16="http://schemas.microsoft.com/office/drawing/2014/main" id="{BBEC651D-9DEC-4A01-B480-D5E4B2FC290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3" name="Rectangle 5">
              <a:extLst>
                <a:ext uri="{FF2B5EF4-FFF2-40B4-BE49-F238E27FC236}">
                  <a16:creationId xmlns:a16="http://schemas.microsoft.com/office/drawing/2014/main" id="{8AC4D9D0-269C-4ACF-BF70-19CF3F874F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4" name="Freeform 6">
              <a:extLst>
                <a:ext uri="{FF2B5EF4-FFF2-40B4-BE49-F238E27FC236}">
                  <a16:creationId xmlns:a16="http://schemas.microsoft.com/office/drawing/2014/main" id="{78D091DD-3D29-4E85-A4F2-B1EF73815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5" name="Freeform 7">
              <a:extLst>
                <a:ext uri="{FF2B5EF4-FFF2-40B4-BE49-F238E27FC236}">
                  <a16:creationId xmlns:a16="http://schemas.microsoft.com/office/drawing/2014/main" id="{41F39217-4860-4557-92E4-3744C451F0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6" name="Freeform 8">
              <a:extLst>
                <a:ext uri="{FF2B5EF4-FFF2-40B4-BE49-F238E27FC236}">
                  <a16:creationId xmlns:a16="http://schemas.microsoft.com/office/drawing/2014/main" id="{E8E8E316-21E4-4CC2-ADF5-C4F81235C3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7" name="Freeform 9">
              <a:extLst>
                <a:ext uri="{FF2B5EF4-FFF2-40B4-BE49-F238E27FC236}">
                  <a16:creationId xmlns:a16="http://schemas.microsoft.com/office/drawing/2014/main" id="{1D3C1F05-2CE2-4C38-A4B0-481C61982A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8" name="Freeform 10">
              <a:extLst>
                <a:ext uri="{FF2B5EF4-FFF2-40B4-BE49-F238E27FC236}">
                  <a16:creationId xmlns:a16="http://schemas.microsoft.com/office/drawing/2014/main" id="{B93800B0-DBA3-4D0A-9F1B-C254419B35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9" name="Freeform 11">
              <a:extLst>
                <a:ext uri="{FF2B5EF4-FFF2-40B4-BE49-F238E27FC236}">
                  <a16:creationId xmlns:a16="http://schemas.microsoft.com/office/drawing/2014/main" id="{DA73D27E-D033-4C84-A492-8DAC896B6E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1" name="Freeform 12">
              <a:extLst>
                <a:ext uri="{FF2B5EF4-FFF2-40B4-BE49-F238E27FC236}">
                  <a16:creationId xmlns:a16="http://schemas.microsoft.com/office/drawing/2014/main" id="{74F6F1BE-8465-4B37-9FA1-D0E1A2E48B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2" name="Freeform 13">
              <a:extLst>
                <a:ext uri="{FF2B5EF4-FFF2-40B4-BE49-F238E27FC236}">
                  <a16:creationId xmlns:a16="http://schemas.microsoft.com/office/drawing/2014/main" id="{9EE5749B-5072-41F9-A57E-284E0A6046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3" name="Freeform 14">
              <a:extLst>
                <a:ext uri="{FF2B5EF4-FFF2-40B4-BE49-F238E27FC236}">
                  <a16:creationId xmlns:a16="http://schemas.microsoft.com/office/drawing/2014/main" id="{2DBB559A-8AB1-47CF-9594-70FFFF07DF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EF6A068B-18BA-48B7-AC57-2231ED0F0A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5" name="Freeform 16">
              <a:extLst>
                <a:ext uri="{FF2B5EF4-FFF2-40B4-BE49-F238E27FC236}">
                  <a16:creationId xmlns:a16="http://schemas.microsoft.com/office/drawing/2014/main" id="{AF34F4D6-E742-4530-A1D5-8CBF297CF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6" name="Freeform 17">
              <a:extLst>
                <a:ext uri="{FF2B5EF4-FFF2-40B4-BE49-F238E27FC236}">
                  <a16:creationId xmlns:a16="http://schemas.microsoft.com/office/drawing/2014/main" id="{FAD1CA84-23AF-476C-9991-F757AE0651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7" name="Freeform 18">
              <a:extLst>
                <a:ext uri="{FF2B5EF4-FFF2-40B4-BE49-F238E27FC236}">
                  <a16:creationId xmlns:a16="http://schemas.microsoft.com/office/drawing/2014/main" id="{ACAEC108-E142-43B0-8B21-F856F93881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8" name="Freeform 19">
              <a:extLst>
                <a:ext uri="{FF2B5EF4-FFF2-40B4-BE49-F238E27FC236}">
                  <a16:creationId xmlns:a16="http://schemas.microsoft.com/office/drawing/2014/main" id="{C85C54C2-C1F3-4F46-AA95-330CA1FBCC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9" name="Freeform 20">
              <a:extLst>
                <a:ext uri="{FF2B5EF4-FFF2-40B4-BE49-F238E27FC236}">
                  <a16:creationId xmlns:a16="http://schemas.microsoft.com/office/drawing/2014/main" id="{DE512848-C980-40EA-8C56-CE3DC8433D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0" name="Rectangle 21">
              <a:extLst>
                <a:ext uri="{FF2B5EF4-FFF2-40B4-BE49-F238E27FC236}">
                  <a16:creationId xmlns:a16="http://schemas.microsoft.com/office/drawing/2014/main" id="{41E59601-BD60-43C2-A624-31E8A46608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1" name="Freeform 22">
              <a:extLst>
                <a:ext uri="{FF2B5EF4-FFF2-40B4-BE49-F238E27FC236}">
                  <a16:creationId xmlns:a16="http://schemas.microsoft.com/office/drawing/2014/main" id="{2FC897BB-D4BC-4B93-BD1F-3FCB8A51B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2" name="Freeform 23">
              <a:extLst>
                <a:ext uri="{FF2B5EF4-FFF2-40B4-BE49-F238E27FC236}">
                  <a16:creationId xmlns:a16="http://schemas.microsoft.com/office/drawing/2014/main" id="{37CB6FDA-B6C4-4A87-9AEB-E2CC768696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3" name="Freeform 24">
              <a:extLst>
                <a:ext uri="{FF2B5EF4-FFF2-40B4-BE49-F238E27FC236}">
                  <a16:creationId xmlns:a16="http://schemas.microsoft.com/office/drawing/2014/main" id="{9EB636E2-EA73-47E1-B9D1-41B5E1183A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4" name="Freeform 25">
              <a:extLst>
                <a:ext uri="{FF2B5EF4-FFF2-40B4-BE49-F238E27FC236}">
                  <a16:creationId xmlns:a16="http://schemas.microsoft.com/office/drawing/2014/main" id="{A1D24BE6-E7F9-419E-9038-3487821748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5" name="Freeform 26">
              <a:extLst>
                <a:ext uri="{FF2B5EF4-FFF2-40B4-BE49-F238E27FC236}">
                  <a16:creationId xmlns:a16="http://schemas.microsoft.com/office/drawing/2014/main" id="{03218CF4-4C2B-499B-A778-31F5E5F57B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6" name="Freeform 27">
              <a:extLst>
                <a:ext uri="{FF2B5EF4-FFF2-40B4-BE49-F238E27FC236}">
                  <a16:creationId xmlns:a16="http://schemas.microsoft.com/office/drawing/2014/main" id="{173799A0-ECB5-493E-9E49-2EA45E4248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7" name="Freeform 28">
              <a:extLst>
                <a:ext uri="{FF2B5EF4-FFF2-40B4-BE49-F238E27FC236}">
                  <a16:creationId xmlns:a16="http://schemas.microsoft.com/office/drawing/2014/main" id="{33E96A3F-7E78-4890-94D5-D7E3CB3B23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8" name="Freeform 29">
              <a:extLst>
                <a:ext uri="{FF2B5EF4-FFF2-40B4-BE49-F238E27FC236}">
                  <a16:creationId xmlns:a16="http://schemas.microsoft.com/office/drawing/2014/main" id="{531E9948-2329-4042-8C88-955E4DCDD7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9" name="Freeform 30">
              <a:extLst>
                <a:ext uri="{FF2B5EF4-FFF2-40B4-BE49-F238E27FC236}">
                  <a16:creationId xmlns:a16="http://schemas.microsoft.com/office/drawing/2014/main" id="{54F08FC5-B24A-449D-BFE5-234C81F9D5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FE60F094-8651-44F7-800A-5C5878936E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1" name="Freeform 32">
              <a:extLst>
                <a:ext uri="{FF2B5EF4-FFF2-40B4-BE49-F238E27FC236}">
                  <a16:creationId xmlns:a16="http://schemas.microsoft.com/office/drawing/2014/main" id="{97B6F0CB-D65A-4FE1-82D0-C900FE691B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2" name="Freeform 34">
              <a:extLst>
                <a:ext uri="{FF2B5EF4-FFF2-40B4-BE49-F238E27FC236}">
                  <a16:creationId xmlns:a16="http://schemas.microsoft.com/office/drawing/2014/main" id="{C5EA344F-8008-488F-91D7-61F621AFAF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3" name="Freeform 35">
              <a:extLst>
                <a:ext uri="{FF2B5EF4-FFF2-40B4-BE49-F238E27FC236}">
                  <a16:creationId xmlns:a16="http://schemas.microsoft.com/office/drawing/2014/main" id="{E3D1E55F-4B1E-4DF3-A491-0D8570B298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4" name="Freeform 36">
              <a:extLst>
                <a:ext uri="{FF2B5EF4-FFF2-40B4-BE49-F238E27FC236}">
                  <a16:creationId xmlns:a16="http://schemas.microsoft.com/office/drawing/2014/main" id="{E873DE5C-24B0-4BF4-8297-4BA1E4AAFF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5" name="Freeform 37">
              <a:extLst>
                <a:ext uri="{FF2B5EF4-FFF2-40B4-BE49-F238E27FC236}">
                  <a16:creationId xmlns:a16="http://schemas.microsoft.com/office/drawing/2014/main" id="{0CB938A8-5CF0-4C5E-984C-0CAEB0C3E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6" name="Freeform 38">
              <a:extLst>
                <a:ext uri="{FF2B5EF4-FFF2-40B4-BE49-F238E27FC236}">
                  <a16:creationId xmlns:a16="http://schemas.microsoft.com/office/drawing/2014/main" id="{78EBBE71-A1CC-4107-AFCC-83E067E576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7" name="Freeform 39">
              <a:extLst>
                <a:ext uri="{FF2B5EF4-FFF2-40B4-BE49-F238E27FC236}">
                  <a16:creationId xmlns:a16="http://schemas.microsoft.com/office/drawing/2014/main" id="{188683EF-DA3F-456E-A35D-B703C1D053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8" name="Freeform 40">
              <a:extLst>
                <a:ext uri="{FF2B5EF4-FFF2-40B4-BE49-F238E27FC236}">
                  <a16:creationId xmlns:a16="http://schemas.microsoft.com/office/drawing/2014/main" id="{67455D6C-9F5E-48F6-9D90-B3BF88850F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9" name="Freeform 41">
              <a:extLst>
                <a:ext uri="{FF2B5EF4-FFF2-40B4-BE49-F238E27FC236}">
                  <a16:creationId xmlns:a16="http://schemas.microsoft.com/office/drawing/2014/main" id="{2049801F-BD8D-4E9D-AAEA-FAFAAC41C8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0" name="Freeform 42">
              <a:extLst>
                <a:ext uri="{FF2B5EF4-FFF2-40B4-BE49-F238E27FC236}">
                  <a16:creationId xmlns:a16="http://schemas.microsoft.com/office/drawing/2014/main" id="{05096163-0CFF-4224-8C90-BA89F552F8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1" name="Freeform 43">
              <a:extLst>
                <a:ext uri="{FF2B5EF4-FFF2-40B4-BE49-F238E27FC236}">
                  <a16:creationId xmlns:a16="http://schemas.microsoft.com/office/drawing/2014/main" id="{F9AE60ED-4BD6-40E5-A3C9-CDC44B29DF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2" name="Freeform 44">
              <a:extLst>
                <a:ext uri="{FF2B5EF4-FFF2-40B4-BE49-F238E27FC236}">
                  <a16:creationId xmlns:a16="http://schemas.microsoft.com/office/drawing/2014/main" id="{DA4117E0-3B90-46EB-B97A-0867BD9DA1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3" name="Freeform 45">
              <a:extLst>
                <a:ext uri="{FF2B5EF4-FFF2-40B4-BE49-F238E27FC236}">
                  <a16:creationId xmlns:a16="http://schemas.microsoft.com/office/drawing/2014/main" id="{761EEC17-AA04-4CC5-B696-C93A624A73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4" name="Freeform 46">
              <a:extLst>
                <a:ext uri="{FF2B5EF4-FFF2-40B4-BE49-F238E27FC236}">
                  <a16:creationId xmlns:a16="http://schemas.microsoft.com/office/drawing/2014/main" id="{19E01E8B-2F3E-4806-9747-A9FD6D7CAB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5" name="Freeform 47">
              <a:extLst>
                <a:ext uri="{FF2B5EF4-FFF2-40B4-BE49-F238E27FC236}">
                  <a16:creationId xmlns:a16="http://schemas.microsoft.com/office/drawing/2014/main" id="{31CE3624-CAB2-42C8-A51A-24F5AB088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6" name="Freeform 48">
              <a:extLst>
                <a:ext uri="{FF2B5EF4-FFF2-40B4-BE49-F238E27FC236}">
                  <a16:creationId xmlns:a16="http://schemas.microsoft.com/office/drawing/2014/main" id="{6046A1D0-D1B4-4EA9-B279-0BB0EB50C4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7" name="Freeform 49">
              <a:extLst>
                <a:ext uri="{FF2B5EF4-FFF2-40B4-BE49-F238E27FC236}">
                  <a16:creationId xmlns:a16="http://schemas.microsoft.com/office/drawing/2014/main" id="{D4B7AB6C-F51F-4D3C-B7AD-C1C1D664E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8" name="Freeform 50">
              <a:extLst>
                <a:ext uri="{FF2B5EF4-FFF2-40B4-BE49-F238E27FC236}">
                  <a16:creationId xmlns:a16="http://schemas.microsoft.com/office/drawing/2014/main" id="{8E10AC4C-338C-4C57-B1AE-E90AD68207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9" name="Freeform 51">
              <a:extLst>
                <a:ext uri="{FF2B5EF4-FFF2-40B4-BE49-F238E27FC236}">
                  <a16:creationId xmlns:a16="http://schemas.microsoft.com/office/drawing/2014/main" id="{34BF4F08-8DEC-4C2B-A2AF-788F7F1E48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0" name="Freeform 52">
              <a:extLst>
                <a:ext uri="{FF2B5EF4-FFF2-40B4-BE49-F238E27FC236}">
                  <a16:creationId xmlns:a16="http://schemas.microsoft.com/office/drawing/2014/main" id="{CFAEED60-DD64-46E7-8E79-CE50C14F1A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1" name="Freeform 53">
              <a:extLst>
                <a:ext uri="{FF2B5EF4-FFF2-40B4-BE49-F238E27FC236}">
                  <a16:creationId xmlns:a16="http://schemas.microsoft.com/office/drawing/2014/main" id="{71261761-F990-43CC-844E-2C0A2477EF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2" name="Freeform 54">
              <a:extLst>
                <a:ext uri="{FF2B5EF4-FFF2-40B4-BE49-F238E27FC236}">
                  <a16:creationId xmlns:a16="http://schemas.microsoft.com/office/drawing/2014/main" id="{D4D822F0-487A-41CD-89A2-BFEAF94DA3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3" name="Freeform 55">
              <a:extLst>
                <a:ext uri="{FF2B5EF4-FFF2-40B4-BE49-F238E27FC236}">
                  <a16:creationId xmlns:a16="http://schemas.microsoft.com/office/drawing/2014/main" id="{64127AD4-1815-4284-AA88-8E4CBE2BEB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4" name="Freeform 56">
              <a:extLst>
                <a:ext uri="{FF2B5EF4-FFF2-40B4-BE49-F238E27FC236}">
                  <a16:creationId xmlns:a16="http://schemas.microsoft.com/office/drawing/2014/main" id="{BD21305C-D290-41CE-8BC3-99457C64FB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5" name="Freeform 57">
              <a:extLst>
                <a:ext uri="{FF2B5EF4-FFF2-40B4-BE49-F238E27FC236}">
                  <a16:creationId xmlns:a16="http://schemas.microsoft.com/office/drawing/2014/main" id="{C54B15DF-E6D7-4531-BBF7-8FF9AA9A4B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6" name="Freeform 58">
              <a:extLst>
                <a:ext uri="{FF2B5EF4-FFF2-40B4-BE49-F238E27FC236}">
                  <a16:creationId xmlns:a16="http://schemas.microsoft.com/office/drawing/2014/main" id="{4D304613-492C-427C-A02E-E05ACE6B32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7" name="Freeform 59">
              <a:extLst>
                <a:ext uri="{FF2B5EF4-FFF2-40B4-BE49-F238E27FC236}">
                  <a16:creationId xmlns:a16="http://schemas.microsoft.com/office/drawing/2014/main" id="{52AED092-BCE9-47D3-8D39-F2C4684C61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8" name="Freeform 60">
              <a:extLst>
                <a:ext uri="{FF2B5EF4-FFF2-40B4-BE49-F238E27FC236}">
                  <a16:creationId xmlns:a16="http://schemas.microsoft.com/office/drawing/2014/main" id="{E9BCC919-A30E-4FA5-91D6-D4CA02EF09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9" name="Freeform 61">
              <a:extLst>
                <a:ext uri="{FF2B5EF4-FFF2-40B4-BE49-F238E27FC236}">
                  <a16:creationId xmlns:a16="http://schemas.microsoft.com/office/drawing/2014/main" id="{6CFE3E2A-8488-4AFD-ABAE-938C82F379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0" name="Freeform 62">
              <a:extLst>
                <a:ext uri="{FF2B5EF4-FFF2-40B4-BE49-F238E27FC236}">
                  <a16:creationId xmlns:a16="http://schemas.microsoft.com/office/drawing/2014/main" id="{AE6E86CC-9825-414A-B885-AD3D5F84D6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</p:grp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BABC578D-5081-452E-A28F-C835C1DA64A1}"/>
              </a:ext>
            </a:extLst>
          </p:cNvPr>
          <p:cNvSpPr/>
          <p:nvPr userDrawn="1"/>
        </p:nvSpPr>
        <p:spPr>
          <a:xfrm>
            <a:off x="6499358" y="-1"/>
            <a:ext cx="5704638" cy="6879660"/>
          </a:xfrm>
          <a:custGeom>
            <a:avLst/>
            <a:gdLst>
              <a:gd name="connsiteX0" fmla="*/ 1684339 w 5704638"/>
              <a:gd name="connsiteY0" fmla="*/ 0 h 6879660"/>
              <a:gd name="connsiteX1" fmla="*/ 5704638 w 5704638"/>
              <a:gd name="connsiteY1" fmla="*/ 0 h 6879660"/>
              <a:gd name="connsiteX2" fmla="*/ 5704638 w 5704638"/>
              <a:gd name="connsiteY2" fmla="*/ 6879660 h 6879660"/>
              <a:gd name="connsiteX3" fmla="*/ 1684339 w 5704638"/>
              <a:gd name="connsiteY3" fmla="*/ 6879660 h 6879660"/>
              <a:gd name="connsiteX4" fmla="*/ 0 w 5704638"/>
              <a:gd name="connsiteY4" fmla="*/ 6437231 h 6879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04638" h="6879660">
                <a:moveTo>
                  <a:pt x="1684339" y="0"/>
                </a:moveTo>
                <a:lnTo>
                  <a:pt x="5704638" y="0"/>
                </a:lnTo>
                <a:lnTo>
                  <a:pt x="5704638" y="6879660"/>
                </a:lnTo>
                <a:lnTo>
                  <a:pt x="1684339" y="6879660"/>
                </a:lnTo>
                <a:lnTo>
                  <a:pt x="0" y="6437231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53571" t="-17583" r="-76930" b="-3028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2" name="Text Placeholder 140">
            <a:extLst>
              <a:ext uri="{FF2B5EF4-FFF2-40B4-BE49-F238E27FC236}">
                <a16:creationId xmlns:a16="http://schemas.microsoft.com/office/drawing/2014/main" id="{77A3F8CD-5F2E-491B-926F-DCC7B4CAEC7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2" y="5394937"/>
            <a:ext cx="4772203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tx2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66" name="Text Placeholder 135">
            <a:extLst>
              <a:ext uri="{FF2B5EF4-FFF2-40B4-BE49-F238E27FC236}">
                <a16:creationId xmlns:a16="http://schemas.microsoft.com/office/drawing/2014/main" id="{A495759F-BC16-45E8-9CE1-BF7AC6B52D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48475225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C-Mov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890DF213-662F-4F0F-AF3A-12E90D6AB403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5999291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600"/>
              </a:spcAft>
              <a:buNone/>
              <a:defRPr sz="3800" b="1">
                <a:solidFill>
                  <a:schemeClr val="tx2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grpSp>
        <p:nvGrpSpPr>
          <p:cNvPr id="131" name="Group 4">
            <a:extLst>
              <a:ext uri="{FF2B5EF4-FFF2-40B4-BE49-F238E27FC236}">
                <a16:creationId xmlns:a16="http://schemas.microsoft.com/office/drawing/2014/main" id="{952F8D34-531B-4437-B768-1A058C4F580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07255" y="616633"/>
            <a:ext cx="1256780" cy="1260000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132" name="AutoShape 3">
              <a:extLst>
                <a:ext uri="{FF2B5EF4-FFF2-40B4-BE49-F238E27FC236}">
                  <a16:creationId xmlns:a16="http://schemas.microsoft.com/office/drawing/2014/main" id="{BBEC651D-9DEC-4A01-B480-D5E4B2FC290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3" name="Rectangle 5">
              <a:extLst>
                <a:ext uri="{FF2B5EF4-FFF2-40B4-BE49-F238E27FC236}">
                  <a16:creationId xmlns:a16="http://schemas.microsoft.com/office/drawing/2014/main" id="{8AC4D9D0-269C-4ACF-BF70-19CF3F874F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4" name="Freeform 6">
              <a:extLst>
                <a:ext uri="{FF2B5EF4-FFF2-40B4-BE49-F238E27FC236}">
                  <a16:creationId xmlns:a16="http://schemas.microsoft.com/office/drawing/2014/main" id="{78D091DD-3D29-4E85-A4F2-B1EF73815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5" name="Freeform 7">
              <a:extLst>
                <a:ext uri="{FF2B5EF4-FFF2-40B4-BE49-F238E27FC236}">
                  <a16:creationId xmlns:a16="http://schemas.microsoft.com/office/drawing/2014/main" id="{41F39217-4860-4557-92E4-3744C451F0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6" name="Freeform 8">
              <a:extLst>
                <a:ext uri="{FF2B5EF4-FFF2-40B4-BE49-F238E27FC236}">
                  <a16:creationId xmlns:a16="http://schemas.microsoft.com/office/drawing/2014/main" id="{E8E8E316-21E4-4CC2-ADF5-C4F81235C3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7" name="Freeform 9">
              <a:extLst>
                <a:ext uri="{FF2B5EF4-FFF2-40B4-BE49-F238E27FC236}">
                  <a16:creationId xmlns:a16="http://schemas.microsoft.com/office/drawing/2014/main" id="{1D3C1F05-2CE2-4C38-A4B0-481C61982A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8" name="Freeform 10">
              <a:extLst>
                <a:ext uri="{FF2B5EF4-FFF2-40B4-BE49-F238E27FC236}">
                  <a16:creationId xmlns:a16="http://schemas.microsoft.com/office/drawing/2014/main" id="{B93800B0-DBA3-4D0A-9F1B-C254419B35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9" name="Freeform 11">
              <a:extLst>
                <a:ext uri="{FF2B5EF4-FFF2-40B4-BE49-F238E27FC236}">
                  <a16:creationId xmlns:a16="http://schemas.microsoft.com/office/drawing/2014/main" id="{DA73D27E-D033-4C84-A492-8DAC896B6E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1" name="Freeform 12">
              <a:extLst>
                <a:ext uri="{FF2B5EF4-FFF2-40B4-BE49-F238E27FC236}">
                  <a16:creationId xmlns:a16="http://schemas.microsoft.com/office/drawing/2014/main" id="{74F6F1BE-8465-4B37-9FA1-D0E1A2E48B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2" name="Freeform 13">
              <a:extLst>
                <a:ext uri="{FF2B5EF4-FFF2-40B4-BE49-F238E27FC236}">
                  <a16:creationId xmlns:a16="http://schemas.microsoft.com/office/drawing/2014/main" id="{9EE5749B-5072-41F9-A57E-284E0A6046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3" name="Freeform 14">
              <a:extLst>
                <a:ext uri="{FF2B5EF4-FFF2-40B4-BE49-F238E27FC236}">
                  <a16:creationId xmlns:a16="http://schemas.microsoft.com/office/drawing/2014/main" id="{2DBB559A-8AB1-47CF-9594-70FFFF07DF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EF6A068B-18BA-48B7-AC57-2231ED0F0A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5" name="Freeform 16">
              <a:extLst>
                <a:ext uri="{FF2B5EF4-FFF2-40B4-BE49-F238E27FC236}">
                  <a16:creationId xmlns:a16="http://schemas.microsoft.com/office/drawing/2014/main" id="{AF34F4D6-E742-4530-A1D5-8CBF297CF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6" name="Freeform 17">
              <a:extLst>
                <a:ext uri="{FF2B5EF4-FFF2-40B4-BE49-F238E27FC236}">
                  <a16:creationId xmlns:a16="http://schemas.microsoft.com/office/drawing/2014/main" id="{FAD1CA84-23AF-476C-9991-F757AE0651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7" name="Freeform 18">
              <a:extLst>
                <a:ext uri="{FF2B5EF4-FFF2-40B4-BE49-F238E27FC236}">
                  <a16:creationId xmlns:a16="http://schemas.microsoft.com/office/drawing/2014/main" id="{ACAEC108-E142-43B0-8B21-F856F93881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8" name="Freeform 19">
              <a:extLst>
                <a:ext uri="{FF2B5EF4-FFF2-40B4-BE49-F238E27FC236}">
                  <a16:creationId xmlns:a16="http://schemas.microsoft.com/office/drawing/2014/main" id="{C85C54C2-C1F3-4F46-AA95-330CA1FBCC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49" name="Freeform 20">
              <a:extLst>
                <a:ext uri="{FF2B5EF4-FFF2-40B4-BE49-F238E27FC236}">
                  <a16:creationId xmlns:a16="http://schemas.microsoft.com/office/drawing/2014/main" id="{DE512848-C980-40EA-8C56-CE3DC8433D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0" name="Rectangle 21">
              <a:extLst>
                <a:ext uri="{FF2B5EF4-FFF2-40B4-BE49-F238E27FC236}">
                  <a16:creationId xmlns:a16="http://schemas.microsoft.com/office/drawing/2014/main" id="{41E59601-BD60-43C2-A624-31E8A46608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1" name="Freeform 22">
              <a:extLst>
                <a:ext uri="{FF2B5EF4-FFF2-40B4-BE49-F238E27FC236}">
                  <a16:creationId xmlns:a16="http://schemas.microsoft.com/office/drawing/2014/main" id="{2FC897BB-D4BC-4B93-BD1F-3FCB8A51B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2" name="Freeform 23">
              <a:extLst>
                <a:ext uri="{FF2B5EF4-FFF2-40B4-BE49-F238E27FC236}">
                  <a16:creationId xmlns:a16="http://schemas.microsoft.com/office/drawing/2014/main" id="{37CB6FDA-B6C4-4A87-9AEB-E2CC768696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3" name="Freeform 24">
              <a:extLst>
                <a:ext uri="{FF2B5EF4-FFF2-40B4-BE49-F238E27FC236}">
                  <a16:creationId xmlns:a16="http://schemas.microsoft.com/office/drawing/2014/main" id="{9EB636E2-EA73-47E1-B9D1-41B5E1183A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4" name="Freeform 25">
              <a:extLst>
                <a:ext uri="{FF2B5EF4-FFF2-40B4-BE49-F238E27FC236}">
                  <a16:creationId xmlns:a16="http://schemas.microsoft.com/office/drawing/2014/main" id="{A1D24BE6-E7F9-419E-9038-3487821748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5" name="Freeform 26">
              <a:extLst>
                <a:ext uri="{FF2B5EF4-FFF2-40B4-BE49-F238E27FC236}">
                  <a16:creationId xmlns:a16="http://schemas.microsoft.com/office/drawing/2014/main" id="{03218CF4-4C2B-499B-A778-31F5E5F57B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6" name="Freeform 27">
              <a:extLst>
                <a:ext uri="{FF2B5EF4-FFF2-40B4-BE49-F238E27FC236}">
                  <a16:creationId xmlns:a16="http://schemas.microsoft.com/office/drawing/2014/main" id="{173799A0-ECB5-493E-9E49-2EA45E4248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7" name="Freeform 28">
              <a:extLst>
                <a:ext uri="{FF2B5EF4-FFF2-40B4-BE49-F238E27FC236}">
                  <a16:creationId xmlns:a16="http://schemas.microsoft.com/office/drawing/2014/main" id="{33E96A3F-7E78-4890-94D5-D7E3CB3B23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8" name="Freeform 29">
              <a:extLst>
                <a:ext uri="{FF2B5EF4-FFF2-40B4-BE49-F238E27FC236}">
                  <a16:creationId xmlns:a16="http://schemas.microsoft.com/office/drawing/2014/main" id="{531E9948-2329-4042-8C88-955E4DCDD7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59" name="Freeform 30">
              <a:extLst>
                <a:ext uri="{FF2B5EF4-FFF2-40B4-BE49-F238E27FC236}">
                  <a16:creationId xmlns:a16="http://schemas.microsoft.com/office/drawing/2014/main" id="{54F08FC5-B24A-449D-BFE5-234C81F9D5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FE60F094-8651-44F7-800A-5C5878936E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1" name="Freeform 32">
              <a:extLst>
                <a:ext uri="{FF2B5EF4-FFF2-40B4-BE49-F238E27FC236}">
                  <a16:creationId xmlns:a16="http://schemas.microsoft.com/office/drawing/2014/main" id="{97B6F0CB-D65A-4FE1-82D0-C900FE691B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2" name="Freeform 34">
              <a:extLst>
                <a:ext uri="{FF2B5EF4-FFF2-40B4-BE49-F238E27FC236}">
                  <a16:creationId xmlns:a16="http://schemas.microsoft.com/office/drawing/2014/main" id="{C5EA344F-8008-488F-91D7-61F621AFAF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3" name="Freeform 35">
              <a:extLst>
                <a:ext uri="{FF2B5EF4-FFF2-40B4-BE49-F238E27FC236}">
                  <a16:creationId xmlns:a16="http://schemas.microsoft.com/office/drawing/2014/main" id="{E3D1E55F-4B1E-4DF3-A491-0D8570B298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4" name="Freeform 36">
              <a:extLst>
                <a:ext uri="{FF2B5EF4-FFF2-40B4-BE49-F238E27FC236}">
                  <a16:creationId xmlns:a16="http://schemas.microsoft.com/office/drawing/2014/main" id="{E873DE5C-24B0-4BF4-8297-4BA1E4AAFF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5" name="Freeform 37">
              <a:extLst>
                <a:ext uri="{FF2B5EF4-FFF2-40B4-BE49-F238E27FC236}">
                  <a16:creationId xmlns:a16="http://schemas.microsoft.com/office/drawing/2014/main" id="{0CB938A8-5CF0-4C5E-984C-0CAEB0C3E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6" name="Freeform 38">
              <a:extLst>
                <a:ext uri="{FF2B5EF4-FFF2-40B4-BE49-F238E27FC236}">
                  <a16:creationId xmlns:a16="http://schemas.microsoft.com/office/drawing/2014/main" id="{78EBBE71-A1CC-4107-AFCC-83E067E576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7" name="Freeform 39">
              <a:extLst>
                <a:ext uri="{FF2B5EF4-FFF2-40B4-BE49-F238E27FC236}">
                  <a16:creationId xmlns:a16="http://schemas.microsoft.com/office/drawing/2014/main" id="{188683EF-DA3F-456E-A35D-B703C1D053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8" name="Freeform 40">
              <a:extLst>
                <a:ext uri="{FF2B5EF4-FFF2-40B4-BE49-F238E27FC236}">
                  <a16:creationId xmlns:a16="http://schemas.microsoft.com/office/drawing/2014/main" id="{67455D6C-9F5E-48F6-9D90-B3BF88850F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69" name="Freeform 41">
              <a:extLst>
                <a:ext uri="{FF2B5EF4-FFF2-40B4-BE49-F238E27FC236}">
                  <a16:creationId xmlns:a16="http://schemas.microsoft.com/office/drawing/2014/main" id="{2049801F-BD8D-4E9D-AAEA-FAFAAC41C8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0" name="Freeform 42">
              <a:extLst>
                <a:ext uri="{FF2B5EF4-FFF2-40B4-BE49-F238E27FC236}">
                  <a16:creationId xmlns:a16="http://schemas.microsoft.com/office/drawing/2014/main" id="{05096163-0CFF-4224-8C90-BA89F552F8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1" name="Freeform 43">
              <a:extLst>
                <a:ext uri="{FF2B5EF4-FFF2-40B4-BE49-F238E27FC236}">
                  <a16:creationId xmlns:a16="http://schemas.microsoft.com/office/drawing/2014/main" id="{F9AE60ED-4BD6-40E5-A3C9-CDC44B29DF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2" name="Freeform 44">
              <a:extLst>
                <a:ext uri="{FF2B5EF4-FFF2-40B4-BE49-F238E27FC236}">
                  <a16:creationId xmlns:a16="http://schemas.microsoft.com/office/drawing/2014/main" id="{DA4117E0-3B90-46EB-B97A-0867BD9DA1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3" name="Freeform 45">
              <a:extLst>
                <a:ext uri="{FF2B5EF4-FFF2-40B4-BE49-F238E27FC236}">
                  <a16:creationId xmlns:a16="http://schemas.microsoft.com/office/drawing/2014/main" id="{761EEC17-AA04-4CC5-B696-C93A624A73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4" name="Freeform 46">
              <a:extLst>
                <a:ext uri="{FF2B5EF4-FFF2-40B4-BE49-F238E27FC236}">
                  <a16:creationId xmlns:a16="http://schemas.microsoft.com/office/drawing/2014/main" id="{19E01E8B-2F3E-4806-9747-A9FD6D7CAB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5" name="Freeform 47">
              <a:extLst>
                <a:ext uri="{FF2B5EF4-FFF2-40B4-BE49-F238E27FC236}">
                  <a16:creationId xmlns:a16="http://schemas.microsoft.com/office/drawing/2014/main" id="{31CE3624-CAB2-42C8-A51A-24F5AB088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6" name="Freeform 48">
              <a:extLst>
                <a:ext uri="{FF2B5EF4-FFF2-40B4-BE49-F238E27FC236}">
                  <a16:creationId xmlns:a16="http://schemas.microsoft.com/office/drawing/2014/main" id="{6046A1D0-D1B4-4EA9-B279-0BB0EB50C4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7" name="Freeform 49">
              <a:extLst>
                <a:ext uri="{FF2B5EF4-FFF2-40B4-BE49-F238E27FC236}">
                  <a16:creationId xmlns:a16="http://schemas.microsoft.com/office/drawing/2014/main" id="{D4B7AB6C-F51F-4D3C-B7AD-C1C1D664E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8" name="Freeform 50">
              <a:extLst>
                <a:ext uri="{FF2B5EF4-FFF2-40B4-BE49-F238E27FC236}">
                  <a16:creationId xmlns:a16="http://schemas.microsoft.com/office/drawing/2014/main" id="{8E10AC4C-338C-4C57-B1AE-E90AD68207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79" name="Freeform 51">
              <a:extLst>
                <a:ext uri="{FF2B5EF4-FFF2-40B4-BE49-F238E27FC236}">
                  <a16:creationId xmlns:a16="http://schemas.microsoft.com/office/drawing/2014/main" id="{34BF4F08-8DEC-4C2B-A2AF-788F7F1E48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0" name="Freeform 52">
              <a:extLst>
                <a:ext uri="{FF2B5EF4-FFF2-40B4-BE49-F238E27FC236}">
                  <a16:creationId xmlns:a16="http://schemas.microsoft.com/office/drawing/2014/main" id="{CFAEED60-DD64-46E7-8E79-CE50C14F1A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1" name="Freeform 53">
              <a:extLst>
                <a:ext uri="{FF2B5EF4-FFF2-40B4-BE49-F238E27FC236}">
                  <a16:creationId xmlns:a16="http://schemas.microsoft.com/office/drawing/2014/main" id="{71261761-F990-43CC-844E-2C0A2477EF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2" name="Freeform 54">
              <a:extLst>
                <a:ext uri="{FF2B5EF4-FFF2-40B4-BE49-F238E27FC236}">
                  <a16:creationId xmlns:a16="http://schemas.microsoft.com/office/drawing/2014/main" id="{D4D822F0-487A-41CD-89A2-BFEAF94DA3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3" name="Freeform 55">
              <a:extLst>
                <a:ext uri="{FF2B5EF4-FFF2-40B4-BE49-F238E27FC236}">
                  <a16:creationId xmlns:a16="http://schemas.microsoft.com/office/drawing/2014/main" id="{64127AD4-1815-4284-AA88-8E4CBE2BEB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4" name="Freeform 56">
              <a:extLst>
                <a:ext uri="{FF2B5EF4-FFF2-40B4-BE49-F238E27FC236}">
                  <a16:creationId xmlns:a16="http://schemas.microsoft.com/office/drawing/2014/main" id="{BD21305C-D290-41CE-8BC3-99457C64FB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5" name="Freeform 57">
              <a:extLst>
                <a:ext uri="{FF2B5EF4-FFF2-40B4-BE49-F238E27FC236}">
                  <a16:creationId xmlns:a16="http://schemas.microsoft.com/office/drawing/2014/main" id="{C54B15DF-E6D7-4531-BBF7-8FF9AA9A4B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6" name="Freeform 58">
              <a:extLst>
                <a:ext uri="{FF2B5EF4-FFF2-40B4-BE49-F238E27FC236}">
                  <a16:creationId xmlns:a16="http://schemas.microsoft.com/office/drawing/2014/main" id="{4D304613-492C-427C-A02E-E05ACE6B32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7" name="Freeform 59">
              <a:extLst>
                <a:ext uri="{FF2B5EF4-FFF2-40B4-BE49-F238E27FC236}">
                  <a16:creationId xmlns:a16="http://schemas.microsoft.com/office/drawing/2014/main" id="{52AED092-BCE9-47D3-8D39-F2C4684C61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8" name="Freeform 60">
              <a:extLst>
                <a:ext uri="{FF2B5EF4-FFF2-40B4-BE49-F238E27FC236}">
                  <a16:creationId xmlns:a16="http://schemas.microsoft.com/office/drawing/2014/main" id="{E9BCC919-A30E-4FA5-91D6-D4CA02EF09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9" name="Freeform 61">
              <a:extLst>
                <a:ext uri="{FF2B5EF4-FFF2-40B4-BE49-F238E27FC236}">
                  <a16:creationId xmlns:a16="http://schemas.microsoft.com/office/drawing/2014/main" id="{6CFE3E2A-8488-4AFD-ABAE-938C82F379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0" name="Freeform 62">
              <a:extLst>
                <a:ext uri="{FF2B5EF4-FFF2-40B4-BE49-F238E27FC236}">
                  <a16:creationId xmlns:a16="http://schemas.microsoft.com/office/drawing/2014/main" id="{AE6E86CC-9825-414A-B885-AD3D5F84D6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</p:grp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BABC578D-5081-452E-A28F-C835C1DA64A1}"/>
              </a:ext>
            </a:extLst>
          </p:cNvPr>
          <p:cNvSpPr/>
          <p:nvPr userDrawn="1"/>
        </p:nvSpPr>
        <p:spPr>
          <a:xfrm>
            <a:off x="6499358" y="-1"/>
            <a:ext cx="5704638" cy="6879660"/>
          </a:xfrm>
          <a:custGeom>
            <a:avLst/>
            <a:gdLst>
              <a:gd name="connsiteX0" fmla="*/ 1684339 w 5704638"/>
              <a:gd name="connsiteY0" fmla="*/ 0 h 6879660"/>
              <a:gd name="connsiteX1" fmla="*/ 5704638 w 5704638"/>
              <a:gd name="connsiteY1" fmla="*/ 0 h 6879660"/>
              <a:gd name="connsiteX2" fmla="*/ 5704638 w 5704638"/>
              <a:gd name="connsiteY2" fmla="*/ 6879660 h 6879660"/>
              <a:gd name="connsiteX3" fmla="*/ 1684339 w 5704638"/>
              <a:gd name="connsiteY3" fmla="*/ 6879660 h 6879660"/>
              <a:gd name="connsiteX4" fmla="*/ 0 w 5704638"/>
              <a:gd name="connsiteY4" fmla="*/ 6437231 h 6879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04638" h="6879660">
                <a:moveTo>
                  <a:pt x="1684339" y="0"/>
                </a:moveTo>
                <a:lnTo>
                  <a:pt x="5704638" y="0"/>
                </a:lnTo>
                <a:lnTo>
                  <a:pt x="5704638" y="6879660"/>
                </a:lnTo>
                <a:lnTo>
                  <a:pt x="1684339" y="6879660"/>
                </a:lnTo>
                <a:lnTo>
                  <a:pt x="0" y="6437231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39968" t="-3581" r="-35868" b="-881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3" name="Text Placeholder 140">
            <a:extLst>
              <a:ext uri="{FF2B5EF4-FFF2-40B4-BE49-F238E27FC236}">
                <a16:creationId xmlns:a16="http://schemas.microsoft.com/office/drawing/2014/main" id="{06AF1983-185F-47DE-98ED-8E65C1C77DF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062" y="5394937"/>
            <a:ext cx="4772203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tx2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66" name="Text Placeholder 135">
            <a:extLst>
              <a:ext uri="{FF2B5EF4-FFF2-40B4-BE49-F238E27FC236}">
                <a16:creationId xmlns:a16="http://schemas.microsoft.com/office/drawing/2014/main" id="{8D9D2841-CD85-42CB-9788-F269FA32FE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255" y="5338960"/>
            <a:ext cx="288000" cy="108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36121405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tack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77631" y="1076325"/>
            <a:ext cx="10636738" cy="1846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AU"/>
              <a:t>stuff</a:t>
            </a:r>
          </a:p>
        </p:txBody>
      </p:sp>
    </p:spTree>
    <p:extLst>
      <p:ext uri="{BB962C8B-B14F-4D97-AF65-F5344CB8AC3E}">
        <p14:creationId xmlns:p14="http://schemas.microsoft.com/office/powerpoint/2010/main" val="403272405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DFF6A5-979A-AA87-3FCF-C5448E461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681037"/>
            <a:ext cx="8273465" cy="389572"/>
          </a:xfrm>
        </p:spPr>
        <p:txBody>
          <a:bodyPr lIns="72000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375353-C828-1143-2006-11771E6474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8639" y="1338261"/>
            <a:ext cx="8273465" cy="876289"/>
          </a:xfrm>
        </p:spPr>
        <p:txBody>
          <a:bodyPr anchor="b" anchorCtr="0"/>
          <a:lstStyle>
            <a:lvl1pPr>
              <a:lnSpc>
                <a:spcPts val="2900"/>
              </a:lnSpc>
              <a:defRPr sz="2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13F069-5702-A08E-2767-01BDB54B8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Update 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124562-8EBA-BFB1-8C93-8B27750B6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68F59-FBD9-984E-A98E-5BC215B89919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BF1EFE-41F7-B0BC-D761-694944AC90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275" y="2420938"/>
            <a:ext cx="8272991" cy="3098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4025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B1F917-01CE-4331-AB1E-74B962EECC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765" y="395066"/>
            <a:ext cx="10296000" cy="887360"/>
          </a:xfrm>
        </p:spPr>
        <p:txBody>
          <a:bodyPr/>
          <a:lstStyle>
            <a:lvl1pPr>
              <a:defRPr/>
            </a:lvl1pPr>
          </a:lstStyle>
          <a:p>
            <a:r>
              <a:rPr lang="en-AU" noProof="0" dirty="0"/>
              <a:t>Title and cont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A7AD5C-27FE-4927-A5C6-D642B489CA2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16358" y="1532415"/>
            <a:ext cx="11408407" cy="437694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noProof="0" dirty="0"/>
              <a:t>Click to add text, or click on the relevant icon at the centre of the placeholder to add: Table / Chart / SmartArt / Image / Media. There are five type style levels. To access the type styles, click on the text and press the ‘Increase / Decrease List Level’ buttons in the Paragraph section of the Home ribbon.</a:t>
            </a:r>
          </a:p>
          <a:p>
            <a:pPr lvl="0"/>
            <a:r>
              <a:rPr lang="en-AU" noProof="0" dirty="0"/>
              <a:t>Edit Master text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343E2C-891A-4EFA-B177-79A203A954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D28311-B38F-4316-93C3-A38E25C4D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BBCB2E-0337-4FDD-956F-BDAC9ED1A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2DD25-61AE-413C-B4D2-EF2365C9B2E1}" type="slidenum">
              <a:rPr lang="en-AU" noProof="0" smtClean="0"/>
              <a:t>‹#›</a:t>
            </a:fld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309709862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B1F917-01CE-4331-AB1E-74B962EECC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765" y="395066"/>
            <a:ext cx="10296000" cy="887360"/>
          </a:xfrm>
        </p:spPr>
        <p:txBody>
          <a:bodyPr/>
          <a:lstStyle>
            <a:lvl1pPr>
              <a:defRPr/>
            </a:lvl1pPr>
          </a:lstStyle>
          <a:p>
            <a:r>
              <a:rPr lang="en-AU" noProof="0" dirty="0"/>
              <a:t>Two cont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A7AD5C-27FE-4927-A5C6-D642B489CA2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16358" y="1532415"/>
            <a:ext cx="5400000" cy="437694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noProof="0" dirty="0"/>
              <a:t>Click to add text, or click on the relevant icon at the centre of the placeholder to add: Table / Chart / SmartArt / Image / Media. There are five type style levels. To access the type styles, click on the text and press the ‘Increase / Decrease List Level’ buttons in the Paragraph section of the Home ribbon.</a:t>
            </a:r>
          </a:p>
          <a:p>
            <a:pPr lvl="0"/>
            <a:r>
              <a:rPr lang="en-AU" noProof="0" dirty="0"/>
              <a:t>Edit Master text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343E2C-891A-4EFA-B177-79A203A954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D28311-B38F-4316-93C3-A38E25C4D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BBCB2E-0337-4FDD-956F-BDAC9ED1A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2DD25-61AE-413C-B4D2-EF2365C9B2E1}" type="slidenum">
              <a:rPr lang="en-AU" noProof="0" smtClean="0"/>
              <a:t>‹#›</a:t>
            </a:fld>
            <a:endParaRPr lang="en-AU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A73130-BD65-49F1-9021-B2537853096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13741" y="1532415"/>
            <a:ext cx="5400000" cy="437694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noProof="0" dirty="0"/>
              <a:t>Click to add text, or click on the relevant icon at the centre of the placeholder to add: Table / Chart / SmartArt / Image / Media. There are five type style levels. To access the type styles, click on the text and press the ‘Increase / Decrease List Level’ buttons in the Paragraph section of the Home ribbon.</a:t>
            </a:r>
          </a:p>
          <a:p>
            <a:pPr lvl="0"/>
            <a:r>
              <a:rPr lang="en-AU" noProof="0" dirty="0"/>
              <a:t>Edit Master text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001401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B1F917-01CE-4331-AB1E-74B962EECC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765" y="395066"/>
            <a:ext cx="10296000" cy="887360"/>
          </a:xfrm>
        </p:spPr>
        <p:txBody>
          <a:bodyPr/>
          <a:lstStyle>
            <a:lvl1pPr>
              <a:defRPr/>
            </a:lvl1pPr>
          </a:lstStyle>
          <a:p>
            <a:r>
              <a:rPr lang="en-AU" noProof="0" dirty="0"/>
              <a:t>Two column text slid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343E2C-891A-4EFA-B177-79A203A954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D28311-B38F-4316-93C3-A38E25C4D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BBCB2E-0337-4FDD-956F-BDAC9ED1A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2DD25-61AE-413C-B4D2-EF2365C9B2E1}" type="slidenum">
              <a:rPr lang="en-AU" noProof="0" smtClean="0"/>
              <a:t>‹#›</a:t>
            </a:fld>
            <a:endParaRPr lang="en-AU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4D350D-E484-4913-8199-EB8C83FA4F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6358" y="1532415"/>
            <a:ext cx="11408407" cy="4459190"/>
          </a:xfrm>
        </p:spPr>
        <p:txBody>
          <a:bodyPr numCol="2" spcCol="360000"/>
          <a:lstStyle>
            <a:lvl1pPr>
              <a:defRPr/>
            </a:lvl1pPr>
          </a:lstStyle>
          <a:p>
            <a:pPr lvl="0"/>
            <a:r>
              <a:rPr lang="en-AU" noProof="0" dirty="0"/>
              <a:t>There are five type style levels. To access the type styles, click on the text and press the ‘Increase / Decrease List Level’ buttons in the Paragraph section of the Home ribbon.</a:t>
            </a:r>
          </a:p>
          <a:p>
            <a:pPr lvl="0"/>
            <a:r>
              <a:rPr lang="en-AU" noProof="0" dirty="0"/>
              <a:t>Edit Master text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32491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-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890DF213-662F-4F0F-AF3A-12E90D6AB403}"/>
              </a:ext>
            </a:extLst>
          </p:cNvPr>
          <p:cNvSpPr/>
          <p:nvPr userDrawn="1"/>
        </p:nvSpPr>
        <p:spPr>
          <a:xfrm>
            <a:off x="-1" y="-1"/>
            <a:ext cx="12204001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sp>
        <p:nvSpPr>
          <p:cNvPr id="140" name="Subtitle 139">
            <a:extLst>
              <a:ext uri="{FF2B5EF4-FFF2-40B4-BE49-F238E27FC236}">
                <a16:creationId xmlns:a16="http://schemas.microsoft.com/office/drawing/2014/main" id="{1D7D280A-8F97-4666-B32E-23950B31DB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3" y="2487775"/>
            <a:ext cx="4772203" cy="2272930"/>
          </a:xfrm>
          <a:custGeom>
            <a:avLst/>
            <a:gdLst>
              <a:gd name="connsiteX0" fmla="*/ 0 w 4780344"/>
              <a:gd name="connsiteY0" fmla="*/ 0 h 3228280"/>
              <a:gd name="connsiteX1" fmla="*/ 4780344 w 4780344"/>
              <a:gd name="connsiteY1" fmla="*/ 0 h 3228280"/>
              <a:gd name="connsiteX2" fmla="*/ 4780344 w 4780344"/>
              <a:gd name="connsiteY2" fmla="*/ 3228280 h 3228280"/>
              <a:gd name="connsiteX3" fmla="*/ 0 w 4780344"/>
              <a:gd name="connsiteY3" fmla="*/ 3228280 h 322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0344" h="3228280">
                <a:moveTo>
                  <a:pt x="0" y="0"/>
                </a:moveTo>
                <a:lnTo>
                  <a:pt x="4780344" y="0"/>
                </a:lnTo>
                <a:lnTo>
                  <a:pt x="4780344" y="3228280"/>
                </a:lnTo>
                <a:lnTo>
                  <a:pt x="0" y="3228280"/>
                </a:lnTo>
                <a:close/>
              </a:path>
            </a:pathLst>
          </a:custGeom>
          <a:noFill/>
        </p:spPr>
        <p:txBody>
          <a:bodyPr wrap="square" lIns="90000" tIns="90000" rIns="90000" bIns="90000" anchor="t" anchorCtr="0">
            <a:noAutofit/>
          </a:bodyPr>
          <a:lstStyle>
            <a:lvl1pPr marL="0" indent="0" algn="l">
              <a:spcAft>
                <a:spcPts val="600"/>
              </a:spcAft>
              <a:buNone/>
              <a:defRPr sz="3800" b="1">
                <a:solidFill>
                  <a:schemeClr val="tx2"/>
                </a:solidFill>
                <a:latin typeface="+mj-lt"/>
              </a:defRPr>
            </a:lvl1pPr>
            <a:lvl2pPr marL="0" indent="0" algn="l">
              <a:spcBef>
                <a:spcPts val="2400"/>
              </a:spcBef>
              <a:buNone/>
              <a:defRPr sz="2000" b="1">
                <a:solidFill>
                  <a:schemeClr val="accent2"/>
                </a:solidFill>
              </a:defRPr>
            </a:lvl2pPr>
            <a:lvl3pPr marL="0" indent="0" algn="l">
              <a:buNone/>
              <a:defRPr sz="1800">
                <a:solidFill>
                  <a:schemeClr val="accent2"/>
                </a:solidFill>
              </a:defRPr>
            </a:lvl3pPr>
            <a:lvl4pPr marL="0" indent="0" algn="l">
              <a:buNone/>
              <a:defRPr sz="1600" b="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>
                <a:solidFill>
                  <a:schemeClr val="accent2"/>
                </a:solidFill>
              </a:defRPr>
            </a:lvl9pPr>
          </a:lstStyle>
          <a:p>
            <a:r>
              <a:rPr lang="en-AU" noProof="0" dirty="0"/>
              <a:t>Click to add title</a:t>
            </a:r>
          </a:p>
          <a:p>
            <a:pPr lvl="1"/>
            <a:r>
              <a:rPr lang="en-AU" noProof="0" dirty="0"/>
              <a:t>Two</a:t>
            </a:r>
          </a:p>
          <a:p>
            <a:pPr lvl="2"/>
            <a:r>
              <a:rPr lang="en-AU" noProof="0" dirty="0"/>
              <a:t>Three</a:t>
            </a:r>
          </a:p>
          <a:p>
            <a:pPr lvl="8"/>
            <a:r>
              <a:rPr lang="en-AU" noProof="0" dirty="0"/>
              <a:t>four</a:t>
            </a:r>
          </a:p>
        </p:txBody>
      </p:sp>
      <p:sp>
        <p:nvSpPr>
          <p:cNvPr id="10" name="Picture Placeholder 138">
            <a:extLst>
              <a:ext uri="{FF2B5EF4-FFF2-40B4-BE49-F238E27FC236}">
                <a16:creationId xmlns:a16="http://schemas.microsoft.com/office/drawing/2014/main" id="{D91BA0D4-62CE-4418-96F2-0B48EF32B9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2241" y="1030147"/>
            <a:ext cx="5919758" cy="5825419"/>
          </a:xfrm>
          <a:custGeom>
            <a:avLst/>
            <a:gdLst>
              <a:gd name="connsiteX0" fmla="*/ 5919758 w 5919758"/>
              <a:gd name="connsiteY0" fmla="*/ 0 h 5825419"/>
              <a:gd name="connsiteX1" fmla="*/ 5919758 w 5919758"/>
              <a:gd name="connsiteY1" fmla="*/ 5825419 h 5825419"/>
              <a:gd name="connsiteX2" fmla="*/ 1120273 w 5919758"/>
              <a:gd name="connsiteY2" fmla="*/ 5825419 h 5825419"/>
              <a:gd name="connsiteX3" fmla="*/ 0 w 5919758"/>
              <a:gd name="connsiteY3" fmla="*/ 1588036 h 582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9758" h="5825419">
                <a:moveTo>
                  <a:pt x="5919758" y="0"/>
                </a:moveTo>
                <a:lnTo>
                  <a:pt x="5919758" y="5825419"/>
                </a:lnTo>
                <a:lnTo>
                  <a:pt x="1120273" y="5825419"/>
                </a:lnTo>
                <a:lnTo>
                  <a:pt x="0" y="1588036"/>
                </a:lnTo>
                <a:close/>
              </a:path>
            </a:pathLst>
          </a:custGeom>
          <a:noFill/>
        </p:spPr>
        <p:txBody>
          <a:bodyPr wrap="square" lIns="576000" tIns="1728000" rIns="360000" bIns="360000">
            <a:noAutofit/>
          </a:bodyPr>
          <a:lstStyle>
            <a:lvl1pPr algn="l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AU" noProof="0" dirty="0"/>
              <a:t>Click central icon to add picture or pattern</a:t>
            </a:r>
          </a:p>
        </p:txBody>
      </p:sp>
      <p:grpSp>
        <p:nvGrpSpPr>
          <p:cNvPr id="70" name="Group 4">
            <a:extLst>
              <a:ext uri="{FF2B5EF4-FFF2-40B4-BE49-F238E27FC236}">
                <a16:creationId xmlns:a16="http://schemas.microsoft.com/office/drawing/2014/main" id="{3AFBB0F5-5EB0-405F-9812-3F6111C207C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07255" y="616633"/>
            <a:ext cx="1440000" cy="1443689"/>
            <a:chOff x="2864" y="1181"/>
            <a:chExt cx="1952" cy="1957"/>
          </a:xfrm>
          <a:blipFill>
            <a:blip r:embed="rId2"/>
            <a:stretch>
              <a:fillRect/>
            </a:stretch>
          </a:blipFill>
        </p:grpSpPr>
        <p:sp>
          <p:nvSpPr>
            <p:cNvPr id="72" name="AutoShape 3">
              <a:extLst>
                <a:ext uri="{FF2B5EF4-FFF2-40B4-BE49-F238E27FC236}">
                  <a16:creationId xmlns:a16="http://schemas.microsoft.com/office/drawing/2014/main" id="{EE348DCA-F65E-472C-8E94-01A3FE818B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3" name="Rectangle 5">
              <a:extLst>
                <a:ext uri="{FF2B5EF4-FFF2-40B4-BE49-F238E27FC236}">
                  <a16:creationId xmlns:a16="http://schemas.microsoft.com/office/drawing/2014/main" id="{43ED83A1-CC4D-42EA-8ABE-37ED66A648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6" name="Freeform 6">
              <a:extLst>
                <a:ext uri="{FF2B5EF4-FFF2-40B4-BE49-F238E27FC236}">
                  <a16:creationId xmlns:a16="http://schemas.microsoft.com/office/drawing/2014/main" id="{C14D3AFF-4015-4ADB-AB21-B4EADD0CA3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7" name="Freeform 7">
              <a:extLst>
                <a:ext uri="{FF2B5EF4-FFF2-40B4-BE49-F238E27FC236}">
                  <a16:creationId xmlns:a16="http://schemas.microsoft.com/office/drawing/2014/main" id="{338B28A6-DBB6-499A-9175-D30CDBFB6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B4F42473-3AD2-48CF-9DF2-688A050792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4CFCC169-6EE2-4286-8FE4-D99450A443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0" name="Freeform 10">
              <a:extLst>
                <a:ext uri="{FF2B5EF4-FFF2-40B4-BE49-F238E27FC236}">
                  <a16:creationId xmlns:a16="http://schemas.microsoft.com/office/drawing/2014/main" id="{9D240A6C-65D8-4404-BD21-34BFC830B9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1" name="Freeform 11">
              <a:extLst>
                <a:ext uri="{FF2B5EF4-FFF2-40B4-BE49-F238E27FC236}">
                  <a16:creationId xmlns:a16="http://schemas.microsoft.com/office/drawing/2014/main" id="{D2693798-E801-4A01-899D-3526F4E679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2" name="Freeform 12">
              <a:extLst>
                <a:ext uri="{FF2B5EF4-FFF2-40B4-BE49-F238E27FC236}">
                  <a16:creationId xmlns:a16="http://schemas.microsoft.com/office/drawing/2014/main" id="{285079AC-870B-48A5-93B9-BCEBA2C149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3" name="Freeform 13">
              <a:extLst>
                <a:ext uri="{FF2B5EF4-FFF2-40B4-BE49-F238E27FC236}">
                  <a16:creationId xmlns:a16="http://schemas.microsoft.com/office/drawing/2014/main" id="{999F3F9A-C895-4189-8520-0793CCCD0B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4" name="Freeform 14">
              <a:extLst>
                <a:ext uri="{FF2B5EF4-FFF2-40B4-BE49-F238E27FC236}">
                  <a16:creationId xmlns:a16="http://schemas.microsoft.com/office/drawing/2014/main" id="{5161D696-7B40-4240-8A0E-23B94BADBC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5" name="Freeform 15">
              <a:extLst>
                <a:ext uri="{FF2B5EF4-FFF2-40B4-BE49-F238E27FC236}">
                  <a16:creationId xmlns:a16="http://schemas.microsoft.com/office/drawing/2014/main" id="{4C75893E-D358-44AC-A3CF-2EED9778A4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6" name="Freeform 16">
              <a:extLst>
                <a:ext uri="{FF2B5EF4-FFF2-40B4-BE49-F238E27FC236}">
                  <a16:creationId xmlns:a16="http://schemas.microsoft.com/office/drawing/2014/main" id="{7637E8F0-D81C-476F-8F8E-D9920CB899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7" name="Freeform 17">
              <a:extLst>
                <a:ext uri="{FF2B5EF4-FFF2-40B4-BE49-F238E27FC236}">
                  <a16:creationId xmlns:a16="http://schemas.microsoft.com/office/drawing/2014/main" id="{871A423F-334B-41DD-AB12-69F4222E2B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8" name="Freeform 18">
              <a:extLst>
                <a:ext uri="{FF2B5EF4-FFF2-40B4-BE49-F238E27FC236}">
                  <a16:creationId xmlns:a16="http://schemas.microsoft.com/office/drawing/2014/main" id="{F58C111E-E1E0-495A-B19E-19C23BC04A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89" name="Freeform 19">
              <a:extLst>
                <a:ext uri="{FF2B5EF4-FFF2-40B4-BE49-F238E27FC236}">
                  <a16:creationId xmlns:a16="http://schemas.microsoft.com/office/drawing/2014/main" id="{C13C60D4-33A1-4116-A310-C2D5DDC4EE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0" name="Freeform 20">
              <a:extLst>
                <a:ext uri="{FF2B5EF4-FFF2-40B4-BE49-F238E27FC236}">
                  <a16:creationId xmlns:a16="http://schemas.microsoft.com/office/drawing/2014/main" id="{A48538EB-0D4D-49B9-BDCF-9D922353F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1" name="Rectangle 21">
              <a:extLst>
                <a:ext uri="{FF2B5EF4-FFF2-40B4-BE49-F238E27FC236}">
                  <a16:creationId xmlns:a16="http://schemas.microsoft.com/office/drawing/2014/main" id="{1487FAD7-88D3-4A87-99A7-7B072B555F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2" name="Freeform 22">
              <a:extLst>
                <a:ext uri="{FF2B5EF4-FFF2-40B4-BE49-F238E27FC236}">
                  <a16:creationId xmlns:a16="http://schemas.microsoft.com/office/drawing/2014/main" id="{8914B577-98F3-43EF-BC4A-E7588E200C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3" name="Freeform 23">
              <a:extLst>
                <a:ext uri="{FF2B5EF4-FFF2-40B4-BE49-F238E27FC236}">
                  <a16:creationId xmlns:a16="http://schemas.microsoft.com/office/drawing/2014/main" id="{B5308D54-22FE-4DA7-BC01-ED460072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4" name="Freeform 24">
              <a:extLst>
                <a:ext uri="{FF2B5EF4-FFF2-40B4-BE49-F238E27FC236}">
                  <a16:creationId xmlns:a16="http://schemas.microsoft.com/office/drawing/2014/main" id="{3A60EE4F-D706-499A-8872-B156049D5B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5" name="Freeform 25">
              <a:extLst>
                <a:ext uri="{FF2B5EF4-FFF2-40B4-BE49-F238E27FC236}">
                  <a16:creationId xmlns:a16="http://schemas.microsoft.com/office/drawing/2014/main" id="{3EAF6B99-79B4-43B1-842F-B1AFF0CC1E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6" name="Freeform 26">
              <a:extLst>
                <a:ext uri="{FF2B5EF4-FFF2-40B4-BE49-F238E27FC236}">
                  <a16:creationId xmlns:a16="http://schemas.microsoft.com/office/drawing/2014/main" id="{6C79F926-94C7-4522-9614-397593F62E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7" name="Freeform 27">
              <a:extLst>
                <a:ext uri="{FF2B5EF4-FFF2-40B4-BE49-F238E27FC236}">
                  <a16:creationId xmlns:a16="http://schemas.microsoft.com/office/drawing/2014/main" id="{FDD151CA-6BF4-4036-98ED-05B831B530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8" name="Freeform 28">
              <a:extLst>
                <a:ext uri="{FF2B5EF4-FFF2-40B4-BE49-F238E27FC236}">
                  <a16:creationId xmlns:a16="http://schemas.microsoft.com/office/drawing/2014/main" id="{AB448DEB-E490-4038-8414-1A68B9109C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524059C3-D356-4C34-9C06-DD896588BF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247D07C2-EC7B-4730-92FA-6B8D84B80D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5D6F08FA-2532-4558-9602-AF1744F99F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E685EBE7-869E-41B0-BCD8-FF537CBD5C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3" name="Freeform 34">
              <a:extLst>
                <a:ext uri="{FF2B5EF4-FFF2-40B4-BE49-F238E27FC236}">
                  <a16:creationId xmlns:a16="http://schemas.microsoft.com/office/drawing/2014/main" id="{C3AB8B41-7BD9-44AA-B986-74D53C9AF3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4" name="Freeform 35">
              <a:extLst>
                <a:ext uri="{FF2B5EF4-FFF2-40B4-BE49-F238E27FC236}">
                  <a16:creationId xmlns:a16="http://schemas.microsoft.com/office/drawing/2014/main" id="{EDE8817E-73C2-4561-8428-03CCAFF40C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5" name="Freeform 36">
              <a:extLst>
                <a:ext uri="{FF2B5EF4-FFF2-40B4-BE49-F238E27FC236}">
                  <a16:creationId xmlns:a16="http://schemas.microsoft.com/office/drawing/2014/main" id="{AF8224B5-9A1C-4DFC-9A81-E5FD62FB56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6" name="Freeform 37">
              <a:extLst>
                <a:ext uri="{FF2B5EF4-FFF2-40B4-BE49-F238E27FC236}">
                  <a16:creationId xmlns:a16="http://schemas.microsoft.com/office/drawing/2014/main" id="{1C2A9587-67A6-4716-977B-862BFA82E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7" name="Freeform 38">
              <a:extLst>
                <a:ext uri="{FF2B5EF4-FFF2-40B4-BE49-F238E27FC236}">
                  <a16:creationId xmlns:a16="http://schemas.microsoft.com/office/drawing/2014/main" id="{495A0897-65A5-4410-A4A7-BD794D83C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8" name="Freeform 39">
              <a:extLst>
                <a:ext uri="{FF2B5EF4-FFF2-40B4-BE49-F238E27FC236}">
                  <a16:creationId xmlns:a16="http://schemas.microsoft.com/office/drawing/2014/main" id="{7E97296E-EB49-46E9-8E93-4AA5F3E541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09" name="Freeform 40">
              <a:extLst>
                <a:ext uri="{FF2B5EF4-FFF2-40B4-BE49-F238E27FC236}">
                  <a16:creationId xmlns:a16="http://schemas.microsoft.com/office/drawing/2014/main" id="{2F3461FC-DD4F-4CA4-B2A8-7F4F566F61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0" name="Freeform 41">
              <a:extLst>
                <a:ext uri="{FF2B5EF4-FFF2-40B4-BE49-F238E27FC236}">
                  <a16:creationId xmlns:a16="http://schemas.microsoft.com/office/drawing/2014/main" id="{8908A0F4-A93F-4BE5-8463-B36A8039B5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1" name="Freeform 42">
              <a:extLst>
                <a:ext uri="{FF2B5EF4-FFF2-40B4-BE49-F238E27FC236}">
                  <a16:creationId xmlns:a16="http://schemas.microsoft.com/office/drawing/2014/main" id="{24D30A92-E7FF-424A-B0A9-AC7FE32E77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2" name="Freeform 43">
              <a:extLst>
                <a:ext uri="{FF2B5EF4-FFF2-40B4-BE49-F238E27FC236}">
                  <a16:creationId xmlns:a16="http://schemas.microsoft.com/office/drawing/2014/main" id="{B2A95380-ABEE-40CA-BBE5-1E3411D8CD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3" name="Freeform 44">
              <a:extLst>
                <a:ext uri="{FF2B5EF4-FFF2-40B4-BE49-F238E27FC236}">
                  <a16:creationId xmlns:a16="http://schemas.microsoft.com/office/drawing/2014/main" id="{25364CF1-47E1-42AA-B408-1241E63E8C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4" name="Freeform 45">
              <a:extLst>
                <a:ext uri="{FF2B5EF4-FFF2-40B4-BE49-F238E27FC236}">
                  <a16:creationId xmlns:a16="http://schemas.microsoft.com/office/drawing/2014/main" id="{722A9A6F-E73A-4E34-A53F-A559E043C3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5" name="Freeform 46">
              <a:extLst>
                <a:ext uri="{FF2B5EF4-FFF2-40B4-BE49-F238E27FC236}">
                  <a16:creationId xmlns:a16="http://schemas.microsoft.com/office/drawing/2014/main" id="{7DC776F1-D1BF-4756-9B11-A3922DD28A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6" name="Freeform 47">
              <a:extLst>
                <a:ext uri="{FF2B5EF4-FFF2-40B4-BE49-F238E27FC236}">
                  <a16:creationId xmlns:a16="http://schemas.microsoft.com/office/drawing/2014/main" id="{F702349C-C6E4-46A5-8802-BB88DD4BE2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7" name="Freeform 48">
              <a:extLst>
                <a:ext uri="{FF2B5EF4-FFF2-40B4-BE49-F238E27FC236}">
                  <a16:creationId xmlns:a16="http://schemas.microsoft.com/office/drawing/2014/main" id="{346BC6D5-9E5A-4B92-9611-F9D07EF485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8" name="Freeform 49">
              <a:extLst>
                <a:ext uri="{FF2B5EF4-FFF2-40B4-BE49-F238E27FC236}">
                  <a16:creationId xmlns:a16="http://schemas.microsoft.com/office/drawing/2014/main" id="{2A9DF814-73D8-4894-8B96-23B40E6E90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19" name="Freeform 50">
              <a:extLst>
                <a:ext uri="{FF2B5EF4-FFF2-40B4-BE49-F238E27FC236}">
                  <a16:creationId xmlns:a16="http://schemas.microsoft.com/office/drawing/2014/main" id="{58C1703B-88EC-4C9F-B827-837D126B61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0" name="Freeform 51">
              <a:extLst>
                <a:ext uri="{FF2B5EF4-FFF2-40B4-BE49-F238E27FC236}">
                  <a16:creationId xmlns:a16="http://schemas.microsoft.com/office/drawing/2014/main" id="{7589E396-ADCF-4596-8DE4-4379AFCE7E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1" name="Freeform 52">
              <a:extLst>
                <a:ext uri="{FF2B5EF4-FFF2-40B4-BE49-F238E27FC236}">
                  <a16:creationId xmlns:a16="http://schemas.microsoft.com/office/drawing/2014/main" id="{C49FDA79-CF20-4CA4-9EC3-273E88B10C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2" name="Freeform 53">
              <a:extLst>
                <a:ext uri="{FF2B5EF4-FFF2-40B4-BE49-F238E27FC236}">
                  <a16:creationId xmlns:a16="http://schemas.microsoft.com/office/drawing/2014/main" id="{EAF66CB7-8F32-4F0C-B5A2-11A6143DA7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3" name="Freeform 54">
              <a:extLst>
                <a:ext uri="{FF2B5EF4-FFF2-40B4-BE49-F238E27FC236}">
                  <a16:creationId xmlns:a16="http://schemas.microsoft.com/office/drawing/2014/main" id="{DD4F44F0-927E-4351-9C37-2EE63B71F0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4" name="Freeform 55">
              <a:extLst>
                <a:ext uri="{FF2B5EF4-FFF2-40B4-BE49-F238E27FC236}">
                  <a16:creationId xmlns:a16="http://schemas.microsoft.com/office/drawing/2014/main" id="{92AC303A-678D-4707-A16F-2DA1A07D9D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5" name="Freeform 56">
              <a:extLst>
                <a:ext uri="{FF2B5EF4-FFF2-40B4-BE49-F238E27FC236}">
                  <a16:creationId xmlns:a16="http://schemas.microsoft.com/office/drawing/2014/main" id="{4BCFC9F6-3BBE-4394-851E-3738C7D6EB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6" name="Freeform 57">
              <a:extLst>
                <a:ext uri="{FF2B5EF4-FFF2-40B4-BE49-F238E27FC236}">
                  <a16:creationId xmlns:a16="http://schemas.microsoft.com/office/drawing/2014/main" id="{D4997C90-4986-45C1-9DAC-A5D26B02F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7" name="Freeform 58">
              <a:extLst>
                <a:ext uri="{FF2B5EF4-FFF2-40B4-BE49-F238E27FC236}">
                  <a16:creationId xmlns:a16="http://schemas.microsoft.com/office/drawing/2014/main" id="{ACC13E25-4EE3-4A63-B0AF-2162BB78EC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8" name="Freeform 59">
              <a:extLst>
                <a:ext uri="{FF2B5EF4-FFF2-40B4-BE49-F238E27FC236}">
                  <a16:creationId xmlns:a16="http://schemas.microsoft.com/office/drawing/2014/main" id="{87AA0A80-577E-43A6-B738-0BAFE7F7B4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29" name="Freeform 60">
              <a:extLst>
                <a:ext uri="{FF2B5EF4-FFF2-40B4-BE49-F238E27FC236}">
                  <a16:creationId xmlns:a16="http://schemas.microsoft.com/office/drawing/2014/main" id="{3DBFF628-46A4-41BD-9FA9-3D4418E866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0" name="Freeform 61">
              <a:extLst>
                <a:ext uri="{FF2B5EF4-FFF2-40B4-BE49-F238E27FC236}">
                  <a16:creationId xmlns:a16="http://schemas.microsoft.com/office/drawing/2014/main" id="{D6413240-42B4-45DB-BBA2-56A1CDBD3C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31" name="Freeform 62">
              <a:extLst>
                <a:ext uri="{FF2B5EF4-FFF2-40B4-BE49-F238E27FC236}">
                  <a16:creationId xmlns:a16="http://schemas.microsoft.com/office/drawing/2014/main" id="{8AAB2B20-3978-4858-9836-C1351201A6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</p:grpSp>
      <p:sp>
        <p:nvSpPr>
          <p:cNvPr id="66" name="Picture Placeholder 2">
            <a:extLst>
              <a:ext uri="{FF2B5EF4-FFF2-40B4-BE49-F238E27FC236}">
                <a16:creationId xmlns:a16="http://schemas.microsoft.com/office/drawing/2014/main" id="{A60525C7-BF5C-4763-BFD2-4489EB5B78B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00062" y="5410200"/>
            <a:ext cx="1939655" cy="923925"/>
          </a:xfrm>
        </p:spPr>
        <p:txBody>
          <a:bodyPr/>
          <a:lstStyle>
            <a:lvl1pPr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AU" dirty="0"/>
              <a:t>Click to add partner logos</a:t>
            </a:r>
          </a:p>
        </p:txBody>
      </p:sp>
      <p:sp>
        <p:nvSpPr>
          <p:cNvPr id="67" name="Picture Placeholder 2">
            <a:extLst>
              <a:ext uri="{FF2B5EF4-FFF2-40B4-BE49-F238E27FC236}">
                <a16:creationId xmlns:a16="http://schemas.microsoft.com/office/drawing/2014/main" id="{2B0AC9A8-08B7-4674-84A9-EE81504DB88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601859" y="5410200"/>
            <a:ext cx="1939655" cy="923925"/>
          </a:xfrm>
        </p:spPr>
        <p:txBody>
          <a:bodyPr/>
          <a:lstStyle>
            <a:lvl1pPr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AU" dirty="0"/>
              <a:t>Click to add partner logos</a:t>
            </a:r>
          </a:p>
        </p:txBody>
      </p:sp>
      <p:sp>
        <p:nvSpPr>
          <p:cNvPr id="68" name="Picture Placeholder 2">
            <a:extLst>
              <a:ext uri="{FF2B5EF4-FFF2-40B4-BE49-F238E27FC236}">
                <a16:creationId xmlns:a16="http://schemas.microsoft.com/office/drawing/2014/main" id="{05998953-BBE0-4246-B9BC-50453554F00A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703656" y="5410200"/>
            <a:ext cx="1939655" cy="923925"/>
          </a:xfrm>
        </p:spPr>
        <p:txBody>
          <a:bodyPr/>
          <a:lstStyle>
            <a:lvl1pPr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AU" dirty="0"/>
              <a:t>Click to add partner logos</a:t>
            </a:r>
          </a:p>
        </p:txBody>
      </p:sp>
      <p:sp>
        <p:nvSpPr>
          <p:cNvPr id="132" name="Text Placeholder 140">
            <a:extLst>
              <a:ext uri="{FF2B5EF4-FFF2-40B4-BE49-F238E27FC236}">
                <a16:creationId xmlns:a16="http://schemas.microsoft.com/office/drawing/2014/main" id="{CF59814C-B444-4ECE-A32B-683E53AD20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94666" y="686883"/>
            <a:ext cx="3776837" cy="7072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5pPr>
            <a:lvl6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6pPr>
            <a:lvl7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7pPr>
            <a:lvl8pPr>
              <a:spcBef>
                <a:spcPts val="0"/>
              </a:spcBef>
              <a:defRPr sz="1600">
                <a:solidFill>
                  <a:schemeClr val="tx2"/>
                </a:solidFill>
              </a:defRPr>
            </a:lvl8pPr>
            <a:lvl9pPr>
              <a:spcBef>
                <a:spcPts val="0"/>
              </a:spcBef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 dirty="0"/>
              <a:t>Click to add Identifier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74" name="Text Placeholder 135">
            <a:extLst>
              <a:ext uri="{FF2B5EF4-FFF2-40B4-BE49-F238E27FC236}">
                <a16:creationId xmlns:a16="http://schemas.microsoft.com/office/drawing/2014/main" id="{4AA778C4-F038-4603-85A2-34141147C1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601859" y="630906"/>
            <a:ext cx="288000" cy="108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 sz="200">
                <a:solidFill>
                  <a:schemeClr val="accent2">
                    <a:alpha val="0"/>
                  </a:schemeClr>
                </a:solidFill>
              </a:defRPr>
            </a:lvl1pPr>
            <a:lvl2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2pPr>
            <a:lvl3pPr marL="0" indent="0">
              <a:defRPr sz="200">
                <a:solidFill>
                  <a:schemeClr val="accent2">
                    <a:alpha val="0"/>
                  </a:schemeClr>
                </a:solidFill>
              </a:defRPr>
            </a:lvl3pPr>
            <a:lvl4pPr>
              <a:defRPr sz="200">
                <a:solidFill>
                  <a:schemeClr val="accent2">
                    <a:alpha val="0"/>
                  </a:schemeClr>
                </a:solidFill>
              </a:defRPr>
            </a:lvl4pPr>
            <a:lvl5pPr>
              <a:defRPr sz="200">
                <a:solidFill>
                  <a:schemeClr val="tx2">
                    <a:alpha val="0"/>
                  </a:schemeClr>
                </a:solidFill>
              </a:defRPr>
            </a:lvl5pPr>
            <a:lvl6pPr>
              <a:defRPr sz="200">
                <a:solidFill>
                  <a:schemeClr val="tx2">
                    <a:alpha val="0"/>
                  </a:schemeClr>
                </a:solidFill>
              </a:defRPr>
            </a:lvl6pPr>
            <a:lvl7pPr>
              <a:defRPr sz="200">
                <a:solidFill>
                  <a:schemeClr val="tx2">
                    <a:alpha val="0"/>
                  </a:schemeClr>
                </a:solidFill>
              </a:defRPr>
            </a:lvl7pPr>
            <a:lvl8pPr>
              <a:defRPr sz="200">
                <a:solidFill>
                  <a:schemeClr val="tx2">
                    <a:alpha val="0"/>
                  </a:schemeClr>
                </a:solidFill>
              </a:defRPr>
            </a:lvl8pPr>
            <a:lvl9pPr>
              <a:defRPr sz="200">
                <a:solidFill>
                  <a:schemeClr val="tx2">
                    <a:alpha val="0"/>
                  </a:schemeClr>
                </a:solidFill>
              </a:defRPr>
            </a:lvl9pPr>
          </a:lstStyle>
          <a:p>
            <a:pPr lvl="0"/>
            <a:r>
              <a:rPr lang="en-AU" noProof="0" dirty="0"/>
              <a:t>    1</a:t>
            </a:r>
          </a:p>
          <a:p>
            <a:pPr lvl="1"/>
            <a:r>
              <a:rPr lang="en-AU" noProof="0" dirty="0"/>
              <a:t>2</a:t>
            </a:r>
          </a:p>
          <a:p>
            <a:pPr lvl="2"/>
            <a:r>
              <a:rPr lang="en-AU" noProof="0" dirty="0"/>
              <a:t>3</a:t>
            </a:r>
          </a:p>
          <a:p>
            <a:pPr lvl="3"/>
            <a:r>
              <a:rPr lang="en-AU" noProof="0" dirty="0"/>
              <a:t>4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   </a:t>
            </a:r>
          </a:p>
        </p:txBody>
      </p:sp>
    </p:spTree>
    <p:extLst>
      <p:ext uri="{BB962C8B-B14F-4D97-AF65-F5344CB8AC3E}">
        <p14:creationId xmlns:p14="http://schemas.microsoft.com/office/powerpoint/2010/main" val="25229166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B1F917-01CE-4331-AB1E-74B962EECC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765" y="395066"/>
            <a:ext cx="10296000" cy="887360"/>
          </a:xfrm>
        </p:spPr>
        <p:txBody>
          <a:bodyPr/>
          <a:lstStyle>
            <a:lvl1pPr>
              <a:defRPr/>
            </a:lvl1pPr>
          </a:lstStyle>
          <a:p>
            <a:r>
              <a:rPr lang="en-AU" noProof="0" dirty="0"/>
              <a:t>Three column text slid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343E2C-891A-4EFA-B177-79A203A954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D28311-B38F-4316-93C3-A38E25C4D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BBCB2E-0337-4FDD-956F-BDAC9ED1A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2DD25-61AE-413C-B4D2-EF2365C9B2E1}" type="slidenum">
              <a:rPr lang="en-AU" noProof="0" smtClean="0"/>
              <a:t>‹#›</a:t>
            </a:fld>
            <a:endParaRPr lang="en-AU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4D350D-E484-4913-8199-EB8C83FA4F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6358" y="1532415"/>
            <a:ext cx="11408407" cy="4459189"/>
          </a:xfrm>
        </p:spPr>
        <p:txBody>
          <a:bodyPr numCol="3" spcCol="360000"/>
          <a:lstStyle/>
          <a:p>
            <a:pPr lvl="0"/>
            <a:r>
              <a:rPr lang="en-AU" noProof="0" dirty="0"/>
              <a:t>Edit Master text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44054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Pres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4D350D-E484-4913-8199-EB8C83FA4F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6357" y="1532415"/>
            <a:ext cx="7559430" cy="592453"/>
          </a:xfrm>
        </p:spPr>
        <p:txBody>
          <a:bodyPr numCol="1" spcCol="360000"/>
          <a:lstStyle/>
          <a:p>
            <a:pPr lvl="0"/>
            <a:r>
              <a:rPr lang="en-AU" noProof="0" dirty="0"/>
              <a:t>Edit Master text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D51BC2A-07E6-4F57-A3D0-BC904E276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65" y="395066"/>
            <a:ext cx="6447022" cy="8873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C0ED71-D102-4A47-8D49-527E513DAA1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AU" noProof="0" dirty="0"/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2DF14112-10F2-4A1F-8E84-625C042A78A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36900" y="433468"/>
            <a:ext cx="3621629" cy="573903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25545" t="-2787" r="-25545" b="-2787"/>
            </a:stretch>
          </a:blipFill>
        </p:spPr>
        <p:txBody>
          <a:bodyPr>
            <a:normAutofit/>
          </a:bodyPr>
          <a:lstStyle>
            <a:lvl1pPr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AU" dirty="0"/>
              <a:t>Click icon to add image of presenter</a:t>
            </a:r>
          </a:p>
        </p:txBody>
      </p:sp>
      <p:sp>
        <p:nvSpPr>
          <p:cNvPr id="10" name="Media Placeholder 5">
            <a:extLst>
              <a:ext uri="{FF2B5EF4-FFF2-40B4-BE49-F238E27FC236}">
                <a16:creationId xmlns:a16="http://schemas.microsoft.com/office/drawing/2014/main" id="{D4618085-6A58-496C-A30D-555A1C153755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433469" y="2124868"/>
            <a:ext cx="7442318" cy="4047639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AU" dirty="0"/>
              <a:t>Click icon to add video 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48E018D-B91E-4FCF-8E3D-E1119B796B6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AU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674060-CB40-4866-BC46-412241E584C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C22DD25-61AE-413C-B4D2-EF2365C9B2E1}" type="slidenum">
              <a:rPr lang="en-AU" noProof="0" smtClean="0"/>
              <a:pPr/>
              <a:t>‹#›</a:t>
            </a:fld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144373596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4D350D-E484-4913-8199-EB8C83FA4F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6359" y="1532415"/>
            <a:ext cx="6326668" cy="4459190"/>
          </a:xfrm>
        </p:spPr>
        <p:txBody>
          <a:bodyPr numCol="1" spcCol="360000"/>
          <a:lstStyle/>
          <a:p>
            <a:pPr lvl="0"/>
            <a:r>
              <a:rPr lang="en-AU" noProof="0" dirty="0"/>
              <a:t>Edit Master text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2293B1-CA6A-4F4E-91FF-99F08DA214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29159" y="433469"/>
            <a:ext cx="4829371" cy="573903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D51BC2A-07E6-4F57-A3D0-BC904E276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65" y="395066"/>
            <a:ext cx="5214261" cy="8873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B5C923-130F-4CE2-B289-D278C823149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AU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AA6262-DA14-43FE-B7AA-479C75CB9FF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AU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F1FC4A-C989-4916-B28D-469943DEEF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C22DD25-61AE-413C-B4D2-EF2365C9B2E1}" type="slidenum">
              <a:rPr lang="en-AU" noProof="0" smtClean="0"/>
              <a:pPr/>
              <a:t>‹#›</a:t>
            </a:fld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17462895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4D350D-E484-4913-8199-EB8C83FA4F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6359" y="1532415"/>
            <a:ext cx="6326668" cy="3894165"/>
          </a:xfrm>
        </p:spPr>
        <p:txBody>
          <a:bodyPr numCol="1" spcCol="360000"/>
          <a:lstStyle/>
          <a:p>
            <a:pPr lvl="0"/>
            <a:r>
              <a:rPr lang="en-AU" noProof="0" dirty="0"/>
              <a:t>Edit Master text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EFDF54-79BF-4A62-9A89-30BB4DEA2C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65" y="395066"/>
            <a:ext cx="5214261" cy="8873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BF7CC0-017F-45FE-92AB-638C82778A1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AU" noProof="0" dirty="0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D5D96E0D-0308-450C-A1B8-18356D2C171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929160" y="433470"/>
            <a:ext cx="4829370" cy="2789708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84117D5A-86B7-4AD4-AEA3-09FD38F3CFB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929159" y="3385373"/>
            <a:ext cx="4829371" cy="2787128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AF26E98-E7B3-401C-BBD3-44AED288710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AU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53FC3F-C9AF-4833-9D51-51399AED917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DC22DD25-61AE-413C-B4D2-EF2365C9B2E1}" type="slidenum">
              <a:rPr lang="en-AU" noProof="0" smtClean="0"/>
              <a:pPr/>
              <a:t>‹#›</a:t>
            </a:fld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41023973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4D350D-E484-4913-8199-EB8C83FA4F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6359" y="1532415"/>
            <a:ext cx="6326668" cy="4459190"/>
          </a:xfrm>
        </p:spPr>
        <p:txBody>
          <a:bodyPr numCol="1" spcCol="360000"/>
          <a:lstStyle/>
          <a:p>
            <a:pPr lvl="0"/>
            <a:r>
              <a:rPr lang="en-AU" noProof="0" dirty="0"/>
              <a:t>Edit Master text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A715146-2554-48EE-B19F-EB08682D4D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65" y="395066"/>
            <a:ext cx="5214261" cy="8873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DA04E8-A36A-4835-AEDD-DEE7F9EE0FA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AU" noProof="0" dirty="0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2EBC3B63-F8E6-4CD5-A3CE-0A68BD6D24E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929159" y="3385373"/>
            <a:ext cx="4829371" cy="2787128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E739982C-B3F1-49FA-A015-50C5BA9FD40B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929160" y="433469"/>
            <a:ext cx="2340000" cy="278970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1841E0A-6DB9-42D0-BD80-57DE7F80C2E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465648" y="433469"/>
            <a:ext cx="2292882" cy="278970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3F4A80-45A0-4953-8364-5BB35BEE19EA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AU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9BD119-1E9F-42C8-BBE3-BA1D5B3AB4DB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C22DD25-61AE-413C-B4D2-EF2365C9B2E1}" type="slidenum">
              <a:rPr lang="en-AU" noProof="0" smtClean="0"/>
              <a:pPr/>
              <a:t>‹#›</a:t>
            </a:fld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122627533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4D350D-E484-4913-8199-EB8C83FA4F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6359" y="1532415"/>
            <a:ext cx="6326668" cy="4459190"/>
          </a:xfrm>
        </p:spPr>
        <p:txBody>
          <a:bodyPr numCol="1" spcCol="360000"/>
          <a:lstStyle/>
          <a:p>
            <a:pPr lvl="0"/>
            <a:r>
              <a:rPr lang="en-AU" noProof="0" dirty="0"/>
              <a:t>Edit Master text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B543F44-FB67-4998-BE74-154B2E107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65" y="395066"/>
            <a:ext cx="5214261" cy="8873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CC5649-0B68-4930-83FB-57F77194067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AU" noProof="0" dirty="0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1A6C2717-A40C-4B91-A59E-476ABCBFA49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929159" y="3385373"/>
            <a:ext cx="4829371" cy="2787128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E5CE3F13-4F10-496E-9AF5-EB9AD5EEB8C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929160" y="433469"/>
            <a:ext cx="2340000" cy="278970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4F400719-C365-4225-A532-5F986A18ECA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456458" y="433469"/>
            <a:ext cx="2302072" cy="133183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2B1DF00D-30B2-490C-B3B2-6E92730487D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456458" y="1953366"/>
            <a:ext cx="2302072" cy="127350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AADCC63-20FE-4D59-BB93-369A8D612D40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AU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F80D9D-A3A2-4222-913D-0FD981A9D57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C22DD25-61AE-413C-B4D2-EF2365C9B2E1}" type="slidenum">
              <a:rPr lang="en-AU" noProof="0" smtClean="0"/>
              <a:pPr/>
              <a:t>‹#›</a:t>
            </a:fld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310901255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2293B1-CA6A-4F4E-91FF-99F08DA214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3470" y="433470"/>
            <a:ext cx="11325062" cy="5991061"/>
          </a:xfrm>
          <a:solidFill>
            <a:schemeClr val="bg1">
              <a:lumMod val="85000"/>
            </a:schemeClr>
          </a:solidFill>
        </p:spPr>
        <p:txBody>
          <a:bodyPr lIns="936000" tIns="180000" rIns="180000" bIns="180000">
            <a:normAutofit/>
          </a:bodyPr>
          <a:lstStyle>
            <a:lvl1pPr algn="l" rtl="0"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128" name="Text Placeholder 135">
            <a:extLst>
              <a:ext uri="{FF2B5EF4-FFF2-40B4-BE49-F238E27FC236}">
                <a16:creationId xmlns:a16="http://schemas.microsoft.com/office/drawing/2014/main" id="{0C3C7B2F-708A-4AE4-81D4-A81DA4A14F40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33470" y="433470"/>
            <a:ext cx="720000" cy="720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200">
                <a:solidFill>
                  <a:schemeClr val="tx2"/>
                </a:solidFill>
              </a:defRPr>
            </a:lvl1pPr>
            <a:lvl2pPr marL="0" indent="0">
              <a:defRPr sz="200">
                <a:solidFill>
                  <a:schemeClr val="tx2"/>
                </a:solidFill>
              </a:defRPr>
            </a:lvl2pPr>
            <a:lvl3pPr marL="0" indent="0">
              <a:defRPr sz="200">
                <a:solidFill>
                  <a:schemeClr val="tx2"/>
                </a:solidFill>
              </a:defRPr>
            </a:lvl3pPr>
            <a:lvl4pPr>
              <a:defRPr sz="200">
                <a:solidFill>
                  <a:schemeClr val="tx2"/>
                </a:solidFill>
              </a:defRPr>
            </a:lvl4pPr>
            <a:lvl5pPr>
              <a:defRPr sz="200">
                <a:solidFill>
                  <a:schemeClr val="tx2"/>
                </a:solidFill>
              </a:defRPr>
            </a:lvl5pPr>
            <a:lvl6pPr>
              <a:defRPr sz="200">
                <a:solidFill>
                  <a:schemeClr val="tx2"/>
                </a:solidFill>
              </a:defRPr>
            </a:lvl6pPr>
            <a:lvl7pPr>
              <a:defRPr sz="200">
                <a:solidFill>
                  <a:schemeClr val="tx2"/>
                </a:solidFill>
              </a:defRPr>
            </a:lvl7pPr>
            <a:lvl8pPr>
              <a:defRPr sz="200">
                <a:solidFill>
                  <a:schemeClr val="tx2"/>
                </a:solidFill>
              </a:defRPr>
            </a:lvl8pPr>
            <a:lvl9pPr>
              <a:defRPr sz="2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/>
              <a:t>       </a:t>
            </a:r>
          </a:p>
        </p:txBody>
      </p:sp>
      <p:sp>
        <p:nvSpPr>
          <p:cNvPr id="129" name="Text Placeholder 140">
            <a:extLst>
              <a:ext uri="{FF2B5EF4-FFF2-40B4-BE49-F238E27FC236}">
                <a16:creationId xmlns:a16="http://schemas.microsoft.com/office/drawing/2014/main" id="{74E4AFED-1C0E-4349-B4D8-561973586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13784" y="2007045"/>
            <a:ext cx="2965787" cy="826466"/>
          </a:xfrm>
        </p:spPr>
        <p:txBody>
          <a:bodyPr/>
          <a:lstStyle>
            <a:lvl1pPr>
              <a:spcBef>
                <a:spcPts val="500"/>
              </a:spcBef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 sz="2000">
                <a:solidFill>
                  <a:schemeClr val="bg1"/>
                </a:solidFill>
              </a:defRPr>
            </a:lvl2pPr>
            <a:lvl3pPr marL="0" indent="0">
              <a:buNone/>
              <a:defRPr sz="2000" b="0">
                <a:solidFill>
                  <a:schemeClr val="bg1"/>
                </a:solidFill>
              </a:defRPr>
            </a:lvl3pPr>
            <a:lvl4pPr>
              <a:defRPr sz="2000" b="0">
                <a:solidFill>
                  <a:schemeClr val="bg1"/>
                </a:solidFill>
              </a:defRPr>
            </a:lvl4pPr>
            <a:lvl5pPr>
              <a:defRPr sz="2000" b="0">
                <a:solidFill>
                  <a:schemeClr val="bg1"/>
                </a:solidFill>
              </a:defRPr>
            </a:lvl5pPr>
            <a:lvl6pPr>
              <a:defRPr sz="2000" b="0">
                <a:solidFill>
                  <a:schemeClr val="bg1"/>
                </a:solidFill>
              </a:defRPr>
            </a:lvl6pPr>
            <a:lvl7pPr>
              <a:defRPr sz="2000" b="0">
                <a:solidFill>
                  <a:schemeClr val="bg1"/>
                </a:solidFill>
              </a:defRPr>
            </a:lvl7pPr>
            <a:lvl8pPr>
              <a:defRPr sz="2000">
                <a:solidFill>
                  <a:schemeClr val="bg1"/>
                </a:solidFill>
              </a:defRPr>
            </a:lvl8pPr>
            <a:lvl9pPr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en-AU" noProof="0" dirty="0"/>
              <a:t>Use this for dark images</a:t>
            </a:r>
          </a:p>
          <a:p>
            <a:pPr lvl="0"/>
            <a:r>
              <a:rPr lang="en-AU" noProof="0" dirty="0"/>
              <a:t>Edit Master text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  <p:sp>
        <p:nvSpPr>
          <p:cNvPr id="131" name="Text Placeholder 140">
            <a:extLst>
              <a:ext uri="{FF2B5EF4-FFF2-40B4-BE49-F238E27FC236}">
                <a16:creationId xmlns:a16="http://schemas.microsoft.com/office/drawing/2014/main" id="{3990CB9E-67EF-4DD1-AF68-044AF2AC02B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5656" y="2007045"/>
            <a:ext cx="2965787" cy="826466"/>
          </a:xfrm>
        </p:spPr>
        <p:txBody>
          <a:bodyPr/>
          <a:lstStyle>
            <a:lvl1pPr>
              <a:spcBef>
                <a:spcPts val="500"/>
              </a:spcBef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sz="2000">
                <a:solidFill>
                  <a:schemeClr val="tx2"/>
                </a:solidFill>
              </a:defRPr>
            </a:lvl2pPr>
            <a:lvl3pPr marL="0" indent="0">
              <a:buNone/>
              <a:defRPr sz="2000" b="0">
                <a:solidFill>
                  <a:schemeClr val="tx2"/>
                </a:solidFill>
              </a:defRPr>
            </a:lvl3pPr>
            <a:lvl4pPr>
              <a:defRPr sz="2000" b="0">
                <a:solidFill>
                  <a:schemeClr val="tx2"/>
                </a:solidFill>
              </a:defRPr>
            </a:lvl4pPr>
            <a:lvl5pPr>
              <a:defRPr sz="2000" b="0">
                <a:solidFill>
                  <a:schemeClr val="tx2"/>
                </a:solidFill>
              </a:defRPr>
            </a:lvl5pPr>
            <a:lvl6pPr>
              <a:defRPr sz="2000" b="0">
                <a:solidFill>
                  <a:schemeClr val="tx2"/>
                </a:solidFill>
              </a:defRPr>
            </a:lvl6pPr>
            <a:lvl7pPr>
              <a:defRPr sz="2000" b="0">
                <a:solidFill>
                  <a:schemeClr val="tx2"/>
                </a:solidFill>
              </a:defRPr>
            </a:lvl7pPr>
            <a:lvl8pPr>
              <a:defRPr sz="2000">
                <a:solidFill>
                  <a:schemeClr val="tx2"/>
                </a:solidFill>
              </a:defRPr>
            </a:lvl8pPr>
            <a:lvl9pPr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AU" noProof="0" dirty="0"/>
              <a:t>Use this for light images</a:t>
            </a:r>
            <a:br>
              <a:rPr lang="en-AU" noProof="0" dirty="0"/>
            </a:br>
            <a:r>
              <a:rPr lang="en-AU" noProof="0" dirty="0"/>
              <a:t>Edit Master text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5</a:t>
            </a:r>
          </a:p>
          <a:p>
            <a:pPr lvl="5"/>
            <a:r>
              <a:rPr lang="en-AU" noProof="0" dirty="0"/>
              <a:t>6</a:t>
            </a:r>
          </a:p>
          <a:p>
            <a:pPr lvl="6"/>
            <a:r>
              <a:rPr lang="en-AU" noProof="0" dirty="0"/>
              <a:t>7</a:t>
            </a:r>
          </a:p>
          <a:p>
            <a:pPr lvl="7"/>
            <a:r>
              <a:rPr lang="en-AU" noProof="0" dirty="0"/>
              <a:t>8</a:t>
            </a:r>
          </a:p>
          <a:p>
            <a:pPr lvl="8"/>
            <a:r>
              <a:rPr lang="en-AU" noProof="0" dirty="0"/>
              <a:t>9</a:t>
            </a:r>
          </a:p>
          <a:p>
            <a:pPr lvl="8"/>
            <a:r>
              <a:rPr lang="en-AU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352491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6C5FD4-26B4-4C9F-9FC8-80D375B3C3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2DD25-61AE-413C-B4D2-EF2365C9B2E1}" type="slidenum">
              <a:rPr lang="en-AU" smtClean="0"/>
              <a:t>‹#›</a:t>
            </a:fld>
            <a:endParaRPr lang="en-AU"/>
          </a:p>
        </p:txBody>
      </p:sp>
      <p:sp>
        <p:nvSpPr>
          <p:cNvPr id="64" name="Title 63">
            <a:extLst>
              <a:ext uri="{FF2B5EF4-FFF2-40B4-BE49-F238E27FC236}">
                <a16:creationId xmlns:a16="http://schemas.microsoft.com/office/drawing/2014/main" id="{6588F683-12EB-403B-8215-D3E833481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218518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B1F917-01CE-4331-AB1E-74B962EECC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765" y="395066"/>
            <a:ext cx="10296000" cy="887360"/>
          </a:xfrm>
        </p:spPr>
        <p:txBody>
          <a:bodyPr/>
          <a:lstStyle>
            <a:lvl1pPr>
              <a:defRPr/>
            </a:lvl1pPr>
          </a:lstStyle>
          <a:p>
            <a:r>
              <a:rPr lang="en-AU" noProof="0" dirty="0"/>
              <a:t>Title and cont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A7AD5C-27FE-4927-A5C6-D642B489CA2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16356" y="1532415"/>
            <a:ext cx="11408409" cy="437694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noProof="0" dirty="0"/>
              <a:t>Click to add text, or click on the relevant icon at the centre of the placeholder to add: Table / Chart / SmartArt / Image / Media. There are five type style levels. To access the type styles, click on the text and press the ‘Increase / Decrease List Level’ buttons in the Paragraph section of the Home ribbon.</a:t>
            </a:r>
          </a:p>
          <a:p>
            <a:pPr lvl="0"/>
            <a:r>
              <a:rPr lang="en-AU" noProof="0" dirty="0"/>
              <a:t>Edit Master text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343E2C-891A-4EFA-B177-79A203A954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D28311-B38F-4316-93C3-A38E25C4D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BBCB2E-0337-4FDD-956F-BDAC9ED1A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2DD25-61AE-413C-B4D2-EF2365C9B2E1}" type="slidenum">
              <a:rPr lang="en-AU" noProof="0" smtClean="0"/>
              <a:t>‹#›</a:t>
            </a:fld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28342855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B1F917-01CE-4331-AB1E-74B962EECC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765" y="395066"/>
            <a:ext cx="10296000" cy="887360"/>
          </a:xfrm>
        </p:spPr>
        <p:txBody>
          <a:bodyPr/>
          <a:lstStyle>
            <a:lvl1pPr>
              <a:defRPr/>
            </a:lvl1pPr>
          </a:lstStyle>
          <a:p>
            <a:r>
              <a:rPr lang="en-AU" noProof="0" dirty="0"/>
              <a:t>Two cont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A7AD5C-27FE-4927-A5C6-D642B489CA2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16357" y="1532415"/>
            <a:ext cx="5400000" cy="437694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noProof="0" dirty="0"/>
              <a:t>Click to add text, or click on the relevant icon at the centre of the placeholder to add: Table / Chart / SmartArt / Image / Media. There are five type style levels. To access the type styles, click on the text and press the ‘Increase / Decrease List Level’ buttons in the Paragraph section of the Home ribbon.</a:t>
            </a:r>
          </a:p>
          <a:p>
            <a:pPr lvl="0"/>
            <a:r>
              <a:rPr lang="en-AU" noProof="0" dirty="0"/>
              <a:t>Edit Master text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343E2C-891A-4EFA-B177-79A203A954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D28311-B38F-4316-93C3-A38E25C4D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BBCB2E-0337-4FDD-956F-BDAC9ED1A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2DD25-61AE-413C-B4D2-EF2365C9B2E1}" type="slidenum">
              <a:rPr lang="en-AU" noProof="0" smtClean="0"/>
              <a:t>‹#›</a:t>
            </a:fld>
            <a:endParaRPr lang="en-AU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A73130-BD65-49F1-9021-B2537853096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765" y="1532415"/>
            <a:ext cx="5400000" cy="437694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noProof="0" dirty="0"/>
              <a:t>Click to add text, or click on the relevant icon at the centre of the placeholder to add: Table / Chart / SmartArt / Image / Media. There are five type style levels. To access the type styles, click on the text and press the ‘Increase / Decrease List Level’ buttons in the Paragraph section of the Home ribbon.</a:t>
            </a:r>
          </a:p>
          <a:p>
            <a:pPr lvl="0"/>
            <a:r>
              <a:rPr lang="en-AU" noProof="0" dirty="0"/>
              <a:t>Edit Master text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65040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B1F917-01CE-4331-AB1E-74B962EECC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765" y="395066"/>
            <a:ext cx="10296000" cy="887360"/>
          </a:xfrm>
        </p:spPr>
        <p:txBody>
          <a:bodyPr/>
          <a:lstStyle>
            <a:lvl1pPr>
              <a:defRPr/>
            </a:lvl1pPr>
          </a:lstStyle>
          <a:p>
            <a:r>
              <a:rPr lang="en-AU" noProof="0" dirty="0"/>
              <a:t>Two column text slid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343E2C-891A-4EFA-B177-79A203A954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D28311-B38F-4316-93C3-A38E25C4D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BBCB2E-0337-4FDD-956F-BDAC9ED1A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2DD25-61AE-413C-B4D2-EF2365C9B2E1}" type="slidenum">
              <a:rPr lang="en-AU" noProof="0" smtClean="0"/>
              <a:t>‹#›</a:t>
            </a:fld>
            <a:endParaRPr lang="en-AU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4D350D-E484-4913-8199-EB8C83FA4F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6357" y="1532415"/>
            <a:ext cx="11408408" cy="4459190"/>
          </a:xfrm>
        </p:spPr>
        <p:txBody>
          <a:bodyPr numCol="2" spcCol="360000"/>
          <a:lstStyle>
            <a:lvl1pPr>
              <a:defRPr/>
            </a:lvl1pPr>
          </a:lstStyle>
          <a:p>
            <a:pPr lvl="0"/>
            <a:r>
              <a:rPr lang="en-AU" noProof="0" dirty="0"/>
              <a:t>There are five type style levels. To access the type styles, click on the text and press the ‘Increase / Decrease List Level’ buttons in the Paragraph section of the Home ribbon.</a:t>
            </a:r>
          </a:p>
          <a:p>
            <a:pPr lvl="0"/>
            <a:r>
              <a:rPr lang="en-AU" noProof="0" dirty="0"/>
              <a:t>Edit Master text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8486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B1F917-01CE-4331-AB1E-74B962EECC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765" y="395066"/>
            <a:ext cx="10296000" cy="887360"/>
          </a:xfrm>
        </p:spPr>
        <p:txBody>
          <a:bodyPr/>
          <a:lstStyle>
            <a:lvl1pPr>
              <a:defRPr/>
            </a:lvl1pPr>
          </a:lstStyle>
          <a:p>
            <a:r>
              <a:rPr lang="en-AU" noProof="0" dirty="0"/>
              <a:t>Three column text slid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343E2C-891A-4EFA-B177-79A203A954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D28311-B38F-4316-93C3-A38E25C4D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BBCB2E-0337-4FDD-956F-BDAC9ED1A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2DD25-61AE-413C-B4D2-EF2365C9B2E1}" type="slidenum">
              <a:rPr lang="en-AU" noProof="0" smtClean="0"/>
              <a:t>‹#›</a:t>
            </a:fld>
            <a:endParaRPr lang="en-AU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4D350D-E484-4913-8199-EB8C83FA4F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6357" y="1532415"/>
            <a:ext cx="11408408" cy="4459189"/>
          </a:xfrm>
        </p:spPr>
        <p:txBody>
          <a:bodyPr numCol="3" spcCol="36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14423349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DA9561C-11B4-4CC4-B271-3E59C981A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65" y="395066"/>
            <a:ext cx="10296000" cy="88736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A81F4D-4B89-424A-BC66-199E1E666F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6356" y="1532415"/>
            <a:ext cx="11408409" cy="437694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6D8956-3042-4F51-A765-52197DEBA8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412983" y="6172501"/>
            <a:ext cx="2484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AU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9DE430-5DBA-4DE1-9C36-C5FAED4EAF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357" y="6172501"/>
            <a:ext cx="80354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AU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42F550-8FDF-4424-AA18-C456333334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60059" y="6172501"/>
            <a:ext cx="846000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DC22DD25-61AE-413C-B4D2-EF2365C9B2E1}" type="slidenum">
              <a:rPr lang="en-AU" noProof="0" smtClean="0"/>
              <a:pPr/>
              <a:t>‹#›</a:t>
            </a:fld>
            <a:endParaRPr lang="en-AU" noProof="0" dirty="0"/>
          </a:p>
        </p:txBody>
      </p:sp>
      <p:grpSp>
        <p:nvGrpSpPr>
          <p:cNvPr id="183" name="Group 4">
            <a:extLst>
              <a:ext uri="{FF2B5EF4-FFF2-40B4-BE49-F238E27FC236}">
                <a16:creationId xmlns:a16="http://schemas.microsoft.com/office/drawing/2014/main" id="{072EBD70-BCDE-4FAF-82D8-65AC1DA65CF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33469" y="432000"/>
            <a:ext cx="718160" cy="720000"/>
            <a:chOff x="2864" y="1181"/>
            <a:chExt cx="1952" cy="1957"/>
          </a:xfrm>
          <a:blipFill>
            <a:blip r:embed="rId22"/>
            <a:stretch>
              <a:fillRect/>
            </a:stretch>
          </a:blipFill>
        </p:grpSpPr>
        <p:sp>
          <p:nvSpPr>
            <p:cNvPr id="184" name="AutoShape 3">
              <a:extLst>
                <a:ext uri="{FF2B5EF4-FFF2-40B4-BE49-F238E27FC236}">
                  <a16:creationId xmlns:a16="http://schemas.microsoft.com/office/drawing/2014/main" id="{7ADBA37C-8433-4000-9C31-3EF9F3BF48CA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6" name="Rectangle 5">
              <a:extLst>
                <a:ext uri="{FF2B5EF4-FFF2-40B4-BE49-F238E27FC236}">
                  <a16:creationId xmlns:a16="http://schemas.microsoft.com/office/drawing/2014/main" id="{4AF65C91-7154-48D7-81E1-DE2A1615832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7" name="Freeform 6">
              <a:extLst>
                <a:ext uri="{FF2B5EF4-FFF2-40B4-BE49-F238E27FC236}">
                  <a16:creationId xmlns:a16="http://schemas.microsoft.com/office/drawing/2014/main" id="{2567B816-663F-4518-AB67-FF7A98D83D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8" name="Freeform 7">
              <a:extLst>
                <a:ext uri="{FF2B5EF4-FFF2-40B4-BE49-F238E27FC236}">
                  <a16:creationId xmlns:a16="http://schemas.microsoft.com/office/drawing/2014/main" id="{5B7F641C-29EB-499A-A38F-F6CEC596E2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9" name="Freeform 8">
              <a:extLst>
                <a:ext uri="{FF2B5EF4-FFF2-40B4-BE49-F238E27FC236}">
                  <a16:creationId xmlns:a16="http://schemas.microsoft.com/office/drawing/2014/main" id="{F957B433-20D6-46B7-B64B-CC7658BF95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0" name="Freeform 9">
              <a:extLst>
                <a:ext uri="{FF2B5EF4-FFF2-40B4-BE49-F238E27FC236}">
                  <a16:creationId xmlns:a16="http://schemas.microsoft.com/office/drawing/2014/main" id="{38A07266-EBD2-4019-A6D9-DF674210D9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1" name="Freeform 10">
              <a:extLst>
                <a:ext uri="{FF2B5EF4-FFF2-40B4-BE49-F238E27FC236}">
                  <a16:creationId xmlns:a16="http://schemas.microsoft.com/office/drawing/2014/main" id="{2D1170DA-E4AC-4CBB-A9DD-039B36C0DA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2" name="Freeform 11">
              <a:extLst>
                <a:ext uri="{FF2B5EF4-FFF2-40B4-BE49-F238E27FC236}">
                  <a16:creationId xmlns:a16="http://schemas.microsoft.com/office/drawing/2014/main" id="{7ED7B575-029E-43C2-AB03-C55C2F9DB4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3" name="Freeform 12">
              <a:extLst>
                <a:ext uri="{FF2B5EF4-FFF2-40B4-BE49-F238E27FC236}">
                  <a16:creationId xmlns:a16="http://schemas.microsoft.com/office/drawing/2014/main" id="{68E47084-776D-470F-9E06-E306DCDF0A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4" name="Freeform 13">
              <a:extLst>
                <a:ext uri="{FF2B5EF4-FFF2-40B4-BE49-F238E27FC236}">
                  <a16:creationId xmlns:a16="http://schemas.microsoft.com/office/drawing/2014/main" id="{7780C905-979A-4A6E-B85A-D3FC1596C5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5" name="Freeform 14">
              <a:extLst>
                <a:ext uri="{FF2B5EF4-FFF2-40B4-BE49-F238E27FC236}">
                  <a16:creationId xmlns:a16="http://schemas.microsoft.com/office/drawing/2014/main" id="{08F7322A-262A-413D-ACF3-AB5F1376FA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6" name="Freeform 15">
              <a:extLst>
                <a:ext uri="{FF2B5EF4-FFF2-40B4-BE49-F238E27FC236}">
                  <a16:creationId xmlns:a16="http://schemas.microsoft.com/office/drawing/2014/main" id="{AD08E25E-48F3-4541-80BD-06707A0295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7" name="Freeform 16">
              <a:extLst>
                <a:ext uri="{FF2B5EF4-FFF2-40B4-BE49-F238E27FC236}">
                  <a16:creationId xmlns:a16="http://schemas.microsoft.com/office/drawing/2014/main" id="{C2EE1E00-8FA7-4913-9E3A-18338B8A05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8" name="Freeform 17">
              <a:extLst>
                <a:ext uri="{FF2B5EF4-FFF2-40B4-BE49-F238E27FC236}">
                  <a16:creationId xmlns:a16="http://schemas.microsoft.com/office/drawing/2014/main" id="{9FC00192-45BF-4FE5-B7BF-D13BB16E7B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9" name="Freeform 18">
              <a:extLst>
                <a:ext uri="{FF2B5EF4-FFF2-40B4-BE49-F238E27FC236}">
                  <a16:creationId xmlns:a16="http://schemas.microsoft.com/office/drawing/2014/main" id="{38802AEF-AD54-47BF-A522-15165FFA97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0" name="Freeform 19">
              <a:extLst>
                <a:ext uri="{FF2B5EF4-FFF2-40B4-BE49-F238E27FC236}">
                  <a16:creationId xmlns:a16="http://schemas.microsoft.com/office/drawing/2014/main" id="{AAB043E5-B39C-4633-ACD3-E34C62DC3D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1" name="Freeform 20">
              <a:extLst>
                <a:ext uri="{FF2B5EF4-FFF2-40B4-BE49-F238E27FC236}">
                  <a16:creationId xmlns:a16="http://schemas.microsoft.com/office/drawing/2014/main" id="{3C2761D5-BBA8-4FBE-9573-1D876ED66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2" name="Rectangle 21">
              <a:extLst>
                <a:ext uri="{FF2B5EF4-FFF2-40B4-BE49-F238E27FC236}">
                  <a16:creationId xmlns:a16="http://schemas.microsoft.com/office/drawing/2014/main" id="{B85633DE-55A9-4E0C-85A2-854292AE25C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3" name="Freeform 22">
              <a:extLst>
                <a:ext uri="{FF2B5EF4-FFF2-40B4-BE49-F238E27FC236}">
                  <a16:creationId xmlns:a16="http://schemas.microsoft.com/office/drawing/2014/main" id="{B701F94B-9203-4891-8AA5-6C841105BA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4" name="Freeform 23">
              <a:extLst>
                <a:ext uri="{FF2B5EF4-FFF2-40B4-BE49-F238E27FC236}">
                  <a16:creationId xmlns:a16="http://schemas.microsoft.com/office/drawing/2014/main" id="{EB36210F-5F47-4D2F-BA76-7452E2D85D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5" name="Freeform 24">
              <a:extLst>
                <a:ext uri="{FF2B5EF4-FFF2-40B4-BE49-F238E27FC236}">
                  <a16:creationId xmlns:a16="http://schemas.microsoft.com/office/drawing/2014/main" id="{AAE3FD0C-AF52-40EF-8864-1463EECD18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6" name="Freeform 25">
              <a:extLst>
                <a:ext uri="{FF2B5EF4-FFF2-40B4-BE49-F238E27FC236}">
                  <a16:creationId xmlns:a16="http://schemas.microsoft.com/office/drawing/2014/main" id="{D6D8D356-BF1E-4AE8-9277-DD31E43030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7" name="Freeform 26">
              <a:extLst>
                <a:ext uri="{FF2B5EF4-FFF2-40B4-BE49-F238E27FC236}">
                  <a16:creationId xmlns:a16="http://schemas.microsoft.com/office/drawing/2014/main" id="{3B13FBCC-8FA3-49FE-AFBC-9772E5283C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8" name="Freeform 27">
              <a:extLst>
                <a:ext uri="{FF2B5EF4-FFF2-40B4-BE49-F238E27FC236}">
                  <a16:creationId xmlns:a16="http://schemas.microsoft.com/office/drawing/2014/main" id="{2F2E1BE9-A009-417C-B408-DAC2049B09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9" name="Freeform 28">
              <a:extLst>
                <a:ext uri="{FF2B5EF4-FFF2-40B4-BE49-F238E27FC236}">
                  <a16:creationId xmlns:a16="http://schemas.microsoft.com/office/drawing/2014/main" id="{A2C49584-9B59-4558-83B2-4DE82B9450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0" name="Freeform 29">
              <a:extLst>
                <a:ext uri="{FF2B5EF4-FFF2-40B4-BE49-F238E27FC236}">
                  <a16:creationId xmlns:a16="http://schemas.microsoft.com/office/drawing/2014/main" id="{06799FB9-D454-4BA8-BE06-D63F5AA026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1" name="Freeform 30">
              <a:extLst>
                <a:ext uri="{FF2B5EF4-FFF2-40B4-BE49-F238E27FC236}">
                  <a16:creationId xmlns:a16="http://schemas.microsoft.com/office/drawing/2014/main" id="{7008FF3F-A864-4BB1-B427-9814155007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2" name="Freeform 31">
              <a:extLst>
                <a:ext uri="{FF2B5EF4-FFF2-40B4-BE49-F238E27FC236}">
                  <a16:creationId xmlns:a16="http://schemas.microsoft.com/office/drawing/2014/main" id="{8B5037F0-67D4-4DD7-9C80-01341154AC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3" name="Freeform 32">
              <a:extLst>
                <a:ext uri="{FF2B5EF4-FFF2-40B4-BE49-F238E27FC236}">
                  <a16:creationId xmlns:a16="http://schemas.microsoft.com/office/drawing/2014/main" id="{43D6CEB4-5F6A-4888-9B67-2FA0375B31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4" name="Freeform 34">
              <a:extLst>
                <a:ext uri="{FF2B5EF4-FFF2-40B4-BE49-F238E27FC236}">
                  <a16:creationId xmlns:a16="http://schemas.microsoft.com/office/drawing/2014/main" id="{AA604724-43F2-4AA6-ADBF-EBD250F0C2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5" name="Freeform 35">
              <a:extLst>
                <a:ext uri="{FF2B5EF4-FFF2-40B4-BE49-F238E27FC236}">
                  <a16:creationId xmlns:a16="http://schemas.microsoft.com/office/drawing/2014/main" id="{FF8CCC84-4410-492D-AB75-F0E32ADB6D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6" name="Freeform 36">
              <a:extLst>
                <a:ext uri="{FF2B5EF4-FFF2-40B4-BE49-F238E27FC236}">
                  <a16:creationId xmlns:a16="http://schemas.microsoft.com/office/drawing/2014/main" id="{B5F8DF22-8B3D-4EEE-8E28-C1ED027897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7" name="Freeform 37">
              <a:extLst>
                <a:ext uri="{FF2B5EF4-FFF2-40B4-BE49-F238E27FC236}">
                  <a16:creationId xmlns:a16="http://schemas.microsoft.com/office/drawing/2014/main" id="{E69696A9-660C-4B94-846F-85502B8882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8" name="Freeform 38">
              <a:extLst>
                <a:ext uri="{FF2B5EF4-FFF2-40B4-BE49-F238E27FC236}">
                  <a16:creationId xmlns:a16="http://schemas.microsoft.com/office/drawing/2014/main" id="{D5AA9DCA-EE69-46BD-8A5C-B2F1A256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9" name="Freeform 39">
              <a:extLst>
                <a:ext uri="{FF2B5EF4-FFF2-40B4-BE49-F238E27FC236}">
                  <a16:creationId xmlns:a16="http://schemas.microsoft.com/office/drawing/2014/main" id="{86B51C72-FF47-444D-BAB2-11F50AC9F5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0" name="Freeform 40">
              <a:extLst>
                <a:ext uri="{FF2B5EF4-FFF2-40B4-BE49-F238E27FC236}">
                  <a16:creationId xmlns:a16="http://schemas.microsoft.com/office/drawing/2014/main" id="{85287241-1AD5-4DDC-AC91-DBE21A8FDB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1" name="Freeform 41">
              <a:extLst>
                <a:ext uri="{FF2B5EF4-FFF2-40B4-BE49-F238E27FC236}">
                  <a16:creationId xmlns:a16="http://schemas.microsoft.com/office/drawing/2014/main" id="{568DBE16-BF90-4235-BA4D-452AACAE0A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2" name="Freeform 42">
              <a:extLst>
                <a:ext uri="{FF2B5EF4-FFF2-40B4-BE49-F238E27FC236}">
                  <a16:creationId xmlns:a16="http://schemas.microsoft.com/office/drawing/2014/main" id="{667C2727-3F47-4296-873A-DD43026F14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3" name="Freeform 43">
              <a:extLst>
                <a:ext uri="{FF2B5EF4-FFF2-40B4-BE49-F238E27FC236}">
                  <a16:creationId xmlns:a16="http://schemas.microsoft.com/office/drawing/2014/main" id="{3009BB0C-F2E7-408B-AE22-9B987D7F42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4" name="Freeform 44">
              <a:extLst>
                <a:ext uri="{FF2B5EF4-FFF2-40B4-BE49-F238E27FC236}">
                  <a16:creationId xmlns:a16="http://schemas.microsoft.com/office/drawing/2014/main" id="{DF8F7F38-CD25-4813-A605-C3200041ED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5" name="Freeform 45">
              <a:extLst>
                <a:ext uri="{FF2B5EF4-FFF2-40B4-BE49-F238E27FC236}">
                  <a16:creationId xmlns:a16="http://schemas.microsoft.com/office/drawing/2014/main" id="{7F75866D-1EBA-4945-8B52-8AF1E0B4E1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6" name="Freeform 46">
              <a:extLst>
                <a:ext uri="{FF2B5EF4-FFF2-40B4-BE49-F238E27FC236}">
                  <a16:creationId xmlns:a16="http://schemas.microsoft.com/office/drawing/2014/main" id="{E1A05D3F-74B5-4BD4-BF0C-A3719F76D8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7" name="Freeform 47">
              <a:extLst>
                <a:ext uri="{FF2B5EF4-FFF2-40B4-BE49-F238E27FC236}">
                  <a16:creationId xmlns:a16="http://schemas.microsoft.com/office/drawing/2014/main" id="{950CBACA-6FA2-4543-B3B1-A05D47C15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8" name="Freeform 48">
              <a:extLst>
                <a:ext uri="{FF2B5EF4-FFF2-40B4-BE49-F238E27FC236}">
                  <a16:creationId xmlns:a16="http://schemas.microsoft.com/office/drawing/2014/main" id="{C262FBD3-F17E-483D-A95B-75DF71BC38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9" name="Freeform 49">
              <a:extLst>
                <a:ext uri="{FF2B5EF4-FFF2-40B4-BE49-F238E27FC236}">
                  <a16:creationId xmlns:a16="http://schemas.microsoft.com/office/drawing/2014/main" id="{32A4BB2E-167D-4343-96D4-C71DFBCCD6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0" name="Freeform 50">
              <a:extLst>
                <a:ext uri="{FF2B5EF4-FFF2-40B4-BE49-F238E27FC236}">
                  <a16:creationId xmlns:a16="http://schemas.microsoft.com/office/drawing/2014/main" id="{C354B20D-5E83-4422-AA23-DA1D38AADC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1" name="Freeform 51">
              <a:extLst>
                <a:ext uri="{FF2B5EF4-FFF2-40B4-BE49-F238E27FC236}">
                  <a16:creationId xmlns:a16="http://schemas.microsoft.com/office/drawing/2014/main" id="{57981494-DC82-4EC8-990A-7DA7D61F8F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2" name="Freeform 52">
              <a:extLst>
                <a:ext uri="{FF2B5EF4-FFF2-40B4-BE49-F238E27FC236}">
                  <a16:creationId xmlns:a16="http://schemas.microsoft.com/office/drawing/2014/main" id="{822CEB55-5A58-4B49-AD8A-1B30A5F6E0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3" name="Freeform 53">
              <a:extLst>
                <a:ext uri="{FF2B5EF4-FFF2-40B4-BE49-F238E27FC236}">
                  <a16:creationId xmlns:a16="http://schemas.microsoft.com/office/drawing/2014/main" id="{6C836365-3B40-4A4C-B4E8-4105DC343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4" name="Freeform 54">
              <a:extLst>
                <a:ext uri="{FF2B5EF4-FFF2-40B4-BE49-F238E27FC236}">
                  <a16:creationId xmlns:a16="http://schemas.microsoft.com/office/drawing/2014/main" id="{81AEA284-BB1F-477A-AFF4-16147C8991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5" name="Freeform 55">
              <a:extLst>
                <a:ext uri="{FF2B5EF4-FFF2-40B4-BE49-F238E27FC236}">
                  <a16:creationId xmlns:a16="http://schemas.microsoft.com/office/drawing/2014/main" id="{907C1C67-5226-4893-90A2-5E94DD022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6" name="Freeform 56">
              <a:extLst>
                <a:ext uri="{FF2B5EF4-FFF2-40B4-BE49-F238E27FC236}">
                  <a16:creationId xmlns:a16="http://schemas.microsoft.com/office/drawing/2014/main" id="{4D1B4D09-5F0F-43A9-A4F0-96F97ADB5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7" name="Freeform 57">
              <a:extLst>
                <a:ext uri="{FF2B5EF4-FFF2-40B4-BE49-F238E27FC236}">
                  <a16:creationId xmlns:a16="http://schemas.microsoft.com/office/drawing/2014/main" id="{562508A5-0578-4C10-AA7A-405FF527E4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8" name="Freeform 58">
              <a:extLst>
                <a:ext uri="{FF2B5EF4-FFF2-40B4-BE49-F238E27FC236}">
                  <a16:creationId xmlns:a16="http://schemas.microsoft.com/office/drawing/2014/main" id="{B930E1D0-9E5B-47CF-8079-A8404C2D02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9" name="Freeform 59">
              <a:extLst>
                <a:ext uri="{FF2B5EF4-FFF2-40B4-BE49-F238E27FC236}">
                  <a16:creationId xmlns:a16="http://schemas.microsoft.com/office/drawing/2014/main" id="{5ADAA5EB-DEB3-40A7-8E1D-9FEAA6483A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40" name="Freeform 60">
              <a:extLst>
                <a:ext uri="{FF2B5EF4-FFF2-40B4-BE49-F238E27FC236}">
                  <a16:creationId xmlns:a16="http://schemas.microsoft.com/office/drawing/2014/main" id="{77E24C52-42CA-4BE2-B236-12EB366BAB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41" name="Freeform 61">
              <a:extLst>
                <a:ext uri="{FF2B5EF4-FFF2-40B4-BE49-F238E27FC236}">
                  <a16:creationId xmlns:a16="http://schemas.microsoft.com/office/drawing/2014/main" id="{81490CF2-BADA-4546-BC7B-7D4CCD73CF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42" name="Freeform 62">
              <a:extLst>
                <a:ext uri="{FF2B5EF4-FFF2-40B4-BE49-F238E27FC236}">
                  <a16:creationId xmlns:a16="http://schemas.microsoft.com/office/drawing/2014/main" id="{73F9C922-5F78-4C16-AB8C-748B7E92C5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</p:grpSp>
    </p:spTree>
    <p:extLst>
      <p:ext uri="{BB962C8B-B14F-4D97-AF65-F5344CB8AC3E}">
        <p14:creationId xmlns:p14="http://schemas.microsoft.com/office/powerpoint/2010/main" val="1274833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6" r:id="rId2"/>
    <p:sldLayoutId id="2147483663" r:id="rId3"/>
    <p:sldLayoutId id="2147483765" r:id="rId4"/>
    <p:sldLayoutId id="2147483766" r:id="rId5"/>
    <p:sldLayoutId id="2147483667" r:id="rId6"/>
    <p:sldLayoutId id="2147483713" r:id="rId7"/>
    <p:sldLayoutId id="2147483668" r:id="rId8"/>
    <p:sldLayoutId id="2147483669" r:id="rId9"/>
    <p:sldLayoutId id="2147483649" r:id="rId10"/>
    <p:sldLayoutId id="2147483656" r:id="rId11"/>
    <p:sldLayoutId id="2147483658" r:id="rId12"/>
    <p:sldLayoutId id="2147483767" r:id="rId13"/>
    <p:sldLayoutId id="2147483670" r:id="rId14"/>
    <p:sldLayoutId id="2147483672" r:id="rId15"/>
    <p:sldLayoutId id="2147483673" r:id="rId16"/>
    <p:sldLayoutId id="2147483674" r:id="rId17"/>
    <p:sldLayoutId id="2147483675" r:id="rId18"/>
    <p:sldLayoutId id="2147483676" r:id="rId19"/>
    <p:sldLayoutId id="2147483671" r:id="rId2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 typeface="Calibri" panose="020F0502020204030204" pitchFamily="34" charset="0"/>
        <a:buChar char="–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DA9561C-11B4-4CC4-B271-3E59C981A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65" y="395066"/>
            <a:ext cx="10296000" cy="88736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AU" noProof="0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A81F4D-4B89-424A-BC66-199E1E666F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6358" y="1532415"/>
            <a:ext cx="11408407" cy="437694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AU" noProof="0" dirty="0"/>
              <a:t>Edit Master text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</a:t>
            </a:r>
          </a:p>
          <a:p>
            <a:pPr lvl="6"/>
            <a:r>
              <a:rPr lang="en-AU" noProof="0" dirty="0"/>
              <a:t>Seven</a:t>
            </a:r>
          </a:p>
          <a:p>
            <a:pPr lvl="7"/>
            <a:r>
              <a:rPr lang="en-AU" noProof="0" dirty="0"/>
              <a:t>Eight</a:t>
            </a:r>
          </a:p>
          <a:p>
            <a:pPr lvl="8"/>
            <a:r>
              <a:rPr lang="en-AU" noProof="0" dirty="0"/>
              <a:t>nin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6D8956-3042-4F51-A765-52197DEBA8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412983" y="6172501"/>
            <a:ext cx="2484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AU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9DE430-5DBA-4DE1-9C36-C5FAED4EAF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28765" y="6172501"/>
            <a:ext cx="6923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AU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42F550-8FDF-4424-AA18-C456333334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60060" y="6172501"/>
            <a:ext cx="753681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DC22DD25-61AE-413C-B4D2-EF2365C9B2E1}" type="slidenum">
              <a:rPr lang="en-AU" noProof="0" smtClean="0"/>
              <a:pPr/>
              <a:t>‹#›</a:t>
            </a:fld>
            <a:endParaRPr lang="en-AU" noProof="0" dirty="0"/>
          </a:p>
        </p:txBody>
      </p:sp>
      <p:grpSp>
        <p:nvGrpSpPr>
          <p:cNvPr id="183" name="Group 4">
            <a:extLst>
              <a:ext uri="{FF2B5EF4-FFF2-40B4-BE49-F238E27FC236}">
                <a16:creationId xmlns:a16="http://schemas.microsoft.com/office/drawing/2014/main" id="{072EBD70-BCDE-4FAF-82D8-65AC1DA65CF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33469" y="432000"/>
            <a:ext cx="718160" cy="720000"/>
            <a:chOff x="2864" y="1181"/>
            <a:chExt cx="1952" cy="1957"/>
          </a:xfrm>
          <a:blipFill>
            <a:blip r:embed="rId28"/>
            <a:stretch>
              <a:fillRect/>
            </a:stretch>
          </a:blipFill>
        </p:grpSpPr>
        <p:sp>
          <p:nvSpPr>
            <p:cNvPr id="184" name="AutoShape 3">
              <a:extLst>
                <a:ext uri="{FF2B5EF4-FFF2-40B4-BE49-F238E27FC236}">
                  <a16:creationId xmlns:a16="http://schemas.microsoft.com/office/drawing/2014/main" id="{7ADBA37C-8433-4000-9C31-3EF9F3BF48CA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6" name="Rectangle 5">
              <a:extLst>
                <a:ext uri="{FF2B5EF4-FFF2-40B4-BE49-F238E27FC236}">
                  <a16:creationId xmlns:a16="http://schemas.microsoft.com/office/drawing/2014/main" id="{4AF65C91-7154-48D7-81E1-DE2A1615832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7" name="Freeform 6">
              <a:extLst>
                <a:ext uri="{FF2B5EF4-FFF2-40B4-BE49-F238E27FC236}">
                  <a16:creationId xmlns:a16="http://schemas.microsoft.com/office/drawing/2014/main" id="{2567B816-663F-4518-AB67-FF7A98D83D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8" name="Freeform 7">
              <a:extLst>
                <a:ext uri="{FF2B5EF4-FFF2-40B4-BE49-F238E27FC236}">
                  <a16:creationId xmlns:a16="http://schemas.microsoft.com/office/drawing/2014/main" id="{5B7F641C-29EB-499A-A38F-F6CEC596E2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9" name="Freeform 8">
              <a:extLst>
                <a:ext uri="{FF2B5EF4-FFF2-40B4-BE49-F238E27FC236}">
                  <a16:creationId xmlns:a16="http://schemas.microsoft.com/office/drawing/2014/main" id="{F957B433-20D6-46B7-B64B-CC7658BF95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0" name="Freeform 9">
              <a:extLst>
                <a:ext uri="{FF2B5EF4-FFF2-40B4-BE49-F238E27FC236}">
                  <a16:creationId xmlns:a16="http://schemas.microsoft.com/office/drawing/2014/main" id="{38A07266-EBD2-4019-A6D9-DF674210D9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1" name="Freeform 10">
              <a:extLst>
                <a:ext uri="{FF2B5EF4-FFF2-40B4-BE49-F238E27FC236}">
                  <a16:creationId xmlns:a16="http://schemas.microsoft.com/office/drawing/2014/main" id="{2D1170DA-E4AC-4CBB-A9DD-039B36C0DA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2" name="Freeform 11">
              <a:extLst>
                <a:ext uri="{FF2B5EF4-FFF2-40B4-BE49-F238E27FC236}">
                  <a16:creationId xmlns:a16="http://schemas.microsoft.com/office/drawing/2014/main" id="{7ED7B575-029E-43C2-AB03-C55C2F9DB4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3" name="Freeform 12">
              <a:extLst>
                <a:ext uri="{FF2B5EF4-FFF2-40B4-BE49-F238E27FC236}">
                  <a16:creationId xmlns:a16="http://schemas.microsoft.com/office/drawing/2014/main" id="{68E47084-776D-470F-9E06-E306DCDF0A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4" name="Freeform 13">
              <a:extLst>
                <a:ext uri="{FF2B5EF4-FFF2-40B4-BE49-F238E27FC236}">
                  <a16:creationId xmlns:a16="http://schemas.microsoft.com/office/drawing/2014/main" id="{7780C905-979A-4A6E-B85A-D3FC1596C5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5" name="Freeform 14">
              <a:extLst>
                <a:ext uri="{FF2B5EF4-FFF2-40B4-BE49-F238E27FC236}">
                  <a16:creationId xmlns:a16="http://schemas.microsoft.com/office/drawing/2014/main" id="{08F7322A-262A-413D-ACF3-AB5F1376FA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6" name="Freeform 15">
              <a:extLst>
                <a:ext uri="{FF2B5EF4-FFF2-40B4-BE49-F238E27FC236}">
                  <a16:creationId xmlns:a16="http://schemas.microsoft.com/office/drawing/2014/main" id="{AD08E25E-48F3-4541-80BD-06707A0295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7" name="Freeform 16">
              <a:extLst>
                <a:ext uri="{FF2B5EF4-FFF2-40B4-BE49-F238E27FC236}">
                  <a16:creationId xmlns:a16="http://schemas.microsoft.com/office/drawing/2014/main" id="{C2EE1E00-8FA7-4913-9E3A-18338B8A05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8" name="Freeform 17">
              <a:extLst>
                <a:ext uri="{FF2B5EF4-FFF2-40B4-BE49-F238E27FC236}">
                  <a16:creationId xmlns:a16="http://schemas.microsoft.com/office/drawing/2014/main" id="{9FC00192-45BF-4FE5-B7BF-D13BB16E7B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9" name="Freeform 18">
              <a:extLst>
                <a:ext uri="{FF2B5EF4-FFF2-40B4-BE49-F238E27FC236}">
                  <a16:creationId xmlns:a16="http://schemas.microsoft.com/office/drawing/2014/main" id="{38802AEF-AD54-47BF-A522-15165FFA97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0" name="Freeform 19">
              <a:extLst>
                <a:ext uri="{FF2B5EF4-FFF2-40B4-BE49-F238E27FC236}">
                  <a16:creationId xmlns:a16="http://schemas.microsoft.com/office/drawing/2014/main" id="{AAB043E5-B39C-4633-ACD3-E34C62DC3D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1" name="Freeform 20">
              <a:extLst>
                <a:ext uri="{FF2B5EF4-FFF2-40B4-BE49-F238E27FC236}">
                  <a16:creationId xmlns:a16="http://schemas.microsoft.com/office/drawing/2014/main" id="{3C2761D5-BBA8-4FBE-9573-1D876ED66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2" name="Rectangle 21">
              <a:extLst>
                <a:ext uri="{FF2B5EF4-FFF2-40B4-BE49-F238E27FC236}">
                  <a16:creationId xmlns:a16="http://schemas.microsoft.com/office/drawing/2014/main" id="{B85633DE-55A9-4E0C-85A2-854292AE25C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3" name="Freeform 22">
              <a:extLst>
                <a:ext uri="{FF2B5EF4-FFF2-40B4-BE49-F238E27FC236}">
                  <a16:creationId xmlns:a16="http://schemas.microsoft.com/office/drawing/2014/main" id="{B701F94B-9203-4891-8AA5-6C841105BA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4" name="Freeform 23">
              <a:extLst>
                <a:ext uri="{FF2B5EF4-FFF2-40B4-BE49-F238E27FC236}">
                  <a16:creationId xmlns:a16="http://schemas.microsoft.com/office/drawing/2014/main" id="{EB36210F-5F47-4D2F-BA76-7452E2D85D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5" name="Freeform 24">
              <a:extLst>
                <a:ext uri="{FF2B5EF4-FFF2-40B4-BE49-F238E27FC236}">
                  <a16:creationId xmlns:a16="http://schemas.microsoft.com/office/drawing/2014/main" id="{AAE3FD0C-AF52-40EF-8864-1463EECD18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6" name="Freeform 25">
              <a:extLst>
                <a:ext uri="{FF2B5EF4-FFF2-40B4-BE49-F238E27FC236}">
                  <a16:creationId xmlns:a16="http://schemas.microsoft.com/office/drawing/2014/main" id="{D6D8D356-BF1E-4AE8-9277-DD31E43030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7" name="Freeform 26">
              <a:extLst>
                <a:ext uri="{FF2B5EF4-FFF2-40B4-BE49-F238E27FC236}">
                  <a16:creationId xmlns:a16="http://schemas.microsoft.com/office/drawing/2014/main" id="{3B13FBCC-8FA3-49FE-AFBC-9772E5283C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8" name="Freeform 27">
              <a:extLst>
                <a:ext uri="{FF2B5EF4-FFF2-40B4-BE49-F238E27FC236}">
                  <a16:creationId xmlns:a16="http://schemas.microsoft.com/office/drawing/2014/main" id="{2F2E1BE9-A009-417C-B408-DAC2049B09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9" name="Freeform 28">
              <a:extLst>
                <a:ext uri="{FF2B5EF4-FFF2-40B4-BE49-F238E27FC236}">
                  <a16:creationId xmlns:a16="http://schemas.microsoft.com/office/drawing/2014/main" id="{A2C49584-9B59-4558-83B2-4DE82B9450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0" name="Freeform 29">
              <a:extLst>
                <a:ext uri="{FF2B5EF4-FFF2-40B4-BE49-F238E27FC236}">
                  <a16:creationId xmlns:a16="http://schemas.microsoft.com/office/drawing/2014/main" id="{06799FB9-D454-4BA8-BE06-D63F5AA026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1" name="Freeform 30">
              <a:extLst>
                <a:ext uri="{FF2B5EF4-FFF2-40B4-BE49-F238E27FC236}">
                  <a16:creationId xmlns:a16="http://schemas.microsoft.com/office/drawing/2014/main" id="{7008FF3F-A864-4BB1-B427-9814155007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2" name="Freeform 31">
              <a:extLst>
                <a:ext uri="{FF2B5EF4-FFF2-40B4-BE49-F238E27FC236}">
                  <a16:creationId xmlns:a16="http://schemas.microsoft.com/office/drawing/2014/main" id="{8B5037F0-67D4-4DD7-9C80-01341154AC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3" name="Freeform 32">
              <a:extLst>
                <a:ext uri="{FF2B5EF4-FFF2-40B4-BE49-F238E27FC236}">
                  <a16:creationId xmlns:a16="http://schemas.microsoft.com/office/drawing/2014/main" id="{43D6CEB4-5F6A-4888-9B67-2FA0375B31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4" name="Freeform 34">
              <a:extLst>
                <a:ext uri="{FF2B5EF4-FFF2-40B4-BE49-F238E27FC236}">
                  <a16:creationId xmlns:a16="http://schemas.microsoft.com/office/drawing/2014/main" id="{AA604724-43F2-4AA6-ADBF-EBD250F0C2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5" name="Freeform 35">
              <a:extLst>
                <a:ext uri="{FF2B5EF4-FFF2-40B4-BE49-F238E27FC236}">
                  <a16:creationId xmlns:a16="http://schemas.microsoft.com/office/drawing/2014/main" id="{FF8CCC84-4410-492D-AB75-F0E32ADB6D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6" name="Freeform 36">
              <a:extLst>
                <a:ext uri="{FF2B5EF4-FFF2-40B4-BE49-F238E27FC236}">
                  <a16:creationId xmlns:a16="http://schemas.microsoft.com/office/drawing/2014/main" id="{B5F8DF22-8B3D-4EEE-8E28-C1ED027897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7" name="Freeform 37">
              <a:extLst>
                <a:ext uri="{FF2B5EF4-FFF2-40B4-BE49-F238E27FC236}">
                  <a16:creationId xmlns:a16="http://schemas.microsoft.com/office/drawing/2014/main" id="{E69696A9-660C-4B94-846F-85502B8882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8" name="Freeform 38">
              <a:extLst>
                <a:ext uri="{FF2B5EF4-FFF2-40B4-BE49-F238E27FC236}">
                  <a16:creationId xmlns:a16="http://schemas.microsoft.com/office/drawing/2014/main" id="{D5AA9DCA-EE69-46BD-8A5C-B2F1A256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9" name="Freeform 39">
              <a:extLst>
                <a:ext uri="{FF2B5EF4-FFF2-40B4-BE49-F238E27FC236}">
                  <a16:creationId xmlns:a16="http://schemas.microsoft.com/office/drawing/2014/main" id="{86B51C72-FF47-444D-BAB2-11F50AC9F5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0" name="Freeform 40">
              <a:extLst>
                <a:ext uri="{FF2B5EF4-FFF2-40B4-BE49-F238E27FC236}">
                  <a16:creationId xmlns:a16="http://schemas.microsoft.com/office/drawing/2014/main" id="{85287241-1AD5-4DDC-AC91-DBE21A8FDB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1" name="Freeform 41">
              <a:extLst>
                <a:ext uri="{FF2B5EF4-FFF2-40B4-BE49-F238E27FC236}">
                  <a16:creationId xmlns:a16="http://schemas.microsoft.com/office/drawing/2014/main" id="{568DBE16-BF90-4235-BA4D-452AACAE0A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2" name="Freeform 42">
              <a:extLst>
                <a:ext uri="{FF2B5EF4-FFF2-40B4-BE49-F238E27FC236}">
                  <a16:creationId xmlns:a16="http://schemas.microsoft.com/office/drawing/2014/main" id="{667C2727-3F47-4296-873A-DD43026F14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3" name="Freeform 43">
              <a:extLst>
                <a:ext uri="{FF2B5EF4-FFF2-40B4-BE49-F238E27FC236}">
                  <a16:creationId xmlns:a16="http://schemas.microsoft.com/office/drawing/2014/main" id="{3009BB0C-F2E7-408B-AE22-9B987D7F42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4" name="Freeform 44">
              <a:extLst>
                <a:ext uri="{FF2B5EF4-FFF2-40B4-BE49-F238E27FC236}">
                  <a16:creationId xmlns:a16="http://schemas.microsoft.com/office/drawing/2014/main" id="{DF8F7F38-CD25-4813-A605-C3200041ED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5" name="Freeform 45">
              <a:extLst>
                <a:ext uri="{FF2B5EF4-FFF2-40B4-BE49-F238E27FC236}">
                  <a16:creationId xmlns:a16="http://schemas.microsoft.com/office/drawing/2014/main" id="{7F75866D-1EBA-4945-8B52-8AF1E0B4E1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6" name="Freeform 46">
              <a:extLst>
                <a:ext uri="{FF2B5EF4-FFF2-40B4-BE49-F238E27FC236}">
                  <a16:creationId xmlns:a16="http://schemas.microsoft.com/office/drawing/2014/main" id="{E1A05D3F-74B5-4BD4-BF0C-A3719F76D8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7" name="Freeform 47">
              <a:extLst>
                <a:ext uri="{FF2B5EF4-FFF2-40B4-BE49-F238E27FC236}">
                  <a16:creationId xmlns:a16="http://schemas.microsoft.com/office/drawing/2014/main" id="{950CBACA-6FA2-4543-B3B1-A05D47C15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8" name="Freeform 48">
              <a:extLst>
                <a:ext uri="{FF2B5EF4-FFF2-40B4-BE49-F238E27FC236}">
                  <a16:creationId xmlns:a16="http://schemas.microsoft.com/office/drawing/2014/main" id="{C262FBD3-F17E-483D-A95B-75DF71BC38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9" name="Freeform 49">
              <a:extLst>
                <a:ext uri="{FF2B5EF4-FFF2-40B4-BE49-F238E27FC236}">
                  <a16:creationId xmlns:a16="http://schemas.microsoft.com/office/drawing/2014/main" id="{32A4BB2E-167D-4343-96D4-C71DFBCCD6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0" name="Freeform 50">
              <a:extLst>
                <a:ext uri="{FF2B5EF4-FFF2-40B4-BE49-F238E27FC236}">
                  <a16:creationId xmlns:a16="http://schemas.microsoft.com/office/drawing/2014/main" id="{C354B20D-5E83-4422-AA23-DA1D38AADC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1" name="Freeform 51">
              <a:extLst>
                <a:ext uri="{FF2B5EF4-FFF2-40B4-BE49-F238E27FC236}">
                  <a16:creationId xmlns:a16="http://schemas.microsoft.com/office/drawing/2014/main" id="{57981494-DC82-4EC8-990A-7DA7D61F8F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2" name="Freeform 52">
              <a:extLst>
                <a:ext uri="{FF2B5EF4-FFF2-40B4-BE49-F238E27FC236}">
                  <a16:creationId xmlns:a16="http://schemas.microsoft.com/office/drawing/2014/main" id="{822CEB55-5A58-4B49-AD8A-1B30A5F6E0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3" name="Freeform 53">
              <a:extLst>
                <a:ext uri="{FF2B5EF4-FFF2-40B4-BE49-F238E27FC236}">
                  <a16:creationId xmlns:a16="http://schemas.microsoft.com/office/drawing/2014/main" id="{6C836365-3B40-4A4C-B4E8-4105DC343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4" name="Freeform 54">
              <a:extLst>
                <a:ext uri="{FF2B5EF4-FFF2-40B4-BE49-F238E27FC236}">
                  <a16:creationId xmlns:a16="http://schemas.microsoft.com/office/drawing/2014/main" id="{81AEA284-BB1F-477A-AFF4-16147C8991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5" name="Freeform 55">
              <a:extLst>
                <a:ext uri="{FF2B5EF4-FFF2-40B4-BE49-F238E27FC236}">
                  <a16:creationId xmlns:a16="http://schemas.microsoft.com/office/drawing/2014/main" id="{907C1C67-5226-4893-90A2-5E94DD022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6" name="Freeform 56">
              <a:extLst>
                <a:ext uri="{FF2B5EF4-FFF2-40B4-BE49-F238E27FC236}">
                  <a16:creationId xmlns:a16="http://schemas.microsoft.com/office/drawing/2014/main" id="{4D1B4D09-5F0F-43A9-A4F0-96F97ADB5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7" name="Freeform 57">
              <a:extLst>
                <a:ext uri="{FF2B5EF4-FFF2-40B4-BE49-F238E27FC236}">
                  <a16:creationId xmlns:a16="http://schemas.microsoft.com/office/drawing/2014/main" id="{562508A5-0578-4C10-AA7A-405FF527E4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8" name="Freeform 58">
              <a:extLst>
                <a:ext uri="{FF2B5EF4-FFF2-40B4-BE49-F238E27FC236}">
                  <a16:creationId xmlns:a16="http://schemas.microsoft.com/office/drawing/2014/main" id="{B930E1D0-9E5B-47CF-8079-A8404C2D02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9" name="Freeform 59">
              <a:extLst>
                <a:ext uri="{FF2B5EF4-FFF2-40B4-BE49-F238E27FC236}">
                  <a16:creationId xmlns:a16="http://schemas.microsoft.com/office/drawing/2014/main" id="{5ADAA5EB-DEB3-40A7-8E1D-9FEAA6483A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40" name="Freeform 60">
              <a:extLst>
                <a:ext uri="{FF2B5EF4-FFF2-40B4-BE49-F238E27FC236}">
                  <a16:creationId xmlns:a16="http://schemas.microsoft.com/office/drawing/2014/main" id="{77E24C52-42CA-4BE2-B236-12EB366BAB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41" name="Freeform 61">
              <a:extLst>
                <a:ext uri="{FF2B5EF4-FFF2-40B4-BE49-F238E27FC236}">
                  <a16:creationId xmlns:a16="http://schemas.microsoft.com/office/drawing/2014/main" id="{81490CF2-BADA-4546-BC7B-7D4CCD73CF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42" name="Freeform 62">
              <a:extLst>
                <a:ext uri="{FF2B5EF4-FFF2-40B4-BE49-F238E27FC236}">
                  <a16:creationId xmlns:a16="http://schemas.microsoft.com/office/drawing/2014/main" id="{73F9C922-5F78-4C16-AB8C-748B7E92C5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</p:grpSp>
    </p:spTree>
    <p:extLst>
      <p:ext uri="{BB962C8B-B14F-4D97-AF65-F5344CB8AC3E}">
        <p14:creationId xmlns:p14="http://schemas.microsoft.com/office/powerpoint/2010/main" val="2437851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35" r:id="rId9"/>
    <p:sldLayoutId id="2147483751" r:id="rId10"/>
    <p:sldLayoutId id="2147483752" r:id="rId11"/>
    <p:sldLayoutId id="2147483753" r:id="rId12"/>
    <p:sldLayoutId id="2147483754" r:id="rId13"/>
    <p:sldLayoutId id="2147483755" r:id="rId14"/>
    <p:sldLayoutId id="2147483756" r:id="rId15"/>
    <p:sldLayoutId id="2147483757" r:id="rId16"/>
    <p:sldLayoutId id="2147483743" r:id="rId17"/>
    <p:sldLayoutId id="2147483758" r:id="rId18"/>
    <p:sldLayoutId id="2147483759" r:id="rId19"/>
    <p:sldLayoutId id="2147483760" r:id="rId20"/>
    <p:sldLayoutId id="2147483761" r:id="rId21"/>
    <p:sldLayoutId id="2147483762" r:id="rId22"/>
    <p:sldLayoutId id="2147483763" r:id="rId23"/>
    <p:sldLayoutId id="2147483764" r:id="rId24"/>
    <p:sldLayoutId id="2147483774" r:id="rId25"/>
    <p:sldLayoutId id="2147483775" r:id="rId2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 typeface="Calibri" panose="020F0502020204030204" pitchFamily="34" charset="0"/>
        <a:buChar char="–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9E096F91-AD99-4C52-895F-5F73C9ACDCD8}"/>
              </a:ext>
            </a:extLst>
          </p:cNvPr>
          <p:cNvSpPr/>
          <p:nvPr userDrawn="1"/>
        </p:nvSpPr>
        <p:spPr>
          <a:xfrm>
            <a:off x="6097" y="0"/>
            <a:ext cx="6433456" cy="2650285"/>
          </a:xfrm>
          <a:custGeom>
            <a:avLst/>
            <a:gdLst>
              <a:gd name="connsiteX0" fmla="*/ 0 w 6433456"/>
              <a:gd name="connsiteY0" fmla="*/ 0 h 2650285"/>
              <a:gd name="connsiteX1" fmla="*/ 6185409 w 6433456"/>
              <a:gd name="connsiteY1" fmla="*/ 0 h 2650285"/>
              <a:gd name="connsiteX2" fmla="*/ 6433456 w 6433456"/>
              <a:gd name="connsiteY2" fmla="*/ 924909 h 2650285"/>
              <a:gd name="connsiteX3" fmla="*/ 0 w 6433456"/>
              <a:gd name="connsiteY3" fmla="*/ 2650285 h 2650285"/>
              <a:gd name="connsiteX4" fmla="*/ 0 w 6433456"/>
              <a:gd name="connsiteY4" fmla="*/ 0 h 2650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33456" h="2650285">
                <a:moveTo>
                  <a:pt x="0" y="0"/>
                </a:moveTo>
                <a:lnTo>
                  <a:pt x="6185409" y="0"/>
                </a:lnTo>
                <a:lnTo>
                  <a:pt x="6433456" y="924909"/>
                </a:lnTo>
                <a:lnTo>
                  <a:pt x="0" y="265028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DA9561C-11B4-4CC4-B271-3E59C981A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65" y="395066"/>
            <a:ext cx="10296000" cy="88736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AU" noProof="0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A81F4D-4B89-424A-BC66-199E1E666F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6358" y="1532415"/>
            <a:ext cx="11408407" cy="437694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AU" noProof="0" dirty="0"/>
              <a:t>Edit Master text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</a:t>
            </a:r>
          </a:p>
          <a:p>
            <a:pPr lvl="6"/>
            <a:r>
              <a:rPr lang="en-AU" noProof="0" dirty="0"/>
              <a:t>Seven</a:t>
            </a:r>
          </a:p>
          <a:p>
            <a:pPr lvl="7"/>
            <a:r>
              <a:rPr lang="en-AU" noProof="0" dirty="0"/>
              <a:t>Eight</a:t>
            </a:r>
          </a:p>
          <a:p>
            <a:pPr lvl="8"/>
            <a:r>
              <a:rPr lang="en-AU" noProof="0" dirty="0"/>
              <a:t>nin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6D8956-3042-4F51-A765-52197DEBA8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412983" y="6172501"/>
            <a:ext cx="2484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AU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9DE430-5DBA-4DE1-9C36-C5FAED4EAF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28765" y="6172501"/>
            <a:ext cx="6923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AU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42F550-8FDF-4424-AA18-C456333334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60060" y="6172501"/>
            <a:ext cx="753681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DC22DD25-61AE-413C-B4D2-EF2365C9B2E1}" type="slidenum">
              <a:rPr lang="en-AU" noProof="0" smtClean="0"/>
              <a:pPr/>
              <a:t>‹#›</a:t>
            </a:fld>
            <a:endParaRPr lang="en-AU" noProof="0" dirty="0"/>
          </a:p>
        </p:txBody>
      </p:sp>
      <p:grpSp>
        <p:nvGrpSpPr>
          <p:cNvPr id="183" name="Group 4">
            <a:extLst>
              <a:ext uri="{FF2B5EF4-FFF2-40B4-BE49-F238E27FC236}">
                <a16:creationId xmlns:a16="http://schemas.microsoft.com/office/drawing/2014/main" id="{072EBD70-BCDE-4FAF-82D8-65AC1DA65CF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33469" y="432000"/>
            <a:ext cx="718160" cy="720000"/>
            <a:chOff x="2864" y="1181"/>
            <a:chExt cx="1952" cy="1957"/>
          </a:xfrm>
          <a:blipFill>
            <a:blip r:embed="rId13"/>
            <a:stretch>
              <a:fillRect/>
            </a:stretch>
          </a:blipFill>
        </p:grpSpPr>
        <p:sp>
          <p:nvSpPr>
            <p:cNvPr id="184" name="AutoShape 3">
              <a:extLst>
                <a:ext uri="{FF2B5EF4-FFF2-40B4-BE49-F238E27FC236}">
                  <a16:creationId xmlns:a16="http://schemas.microsoft.com/office/drawing/2014/main" id="{7ADBA37C-8433-4000-9C31-3EF9F3BF48CA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864" y="1182"/>
              <a:ext cx="1952" cy="19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6" name="Rectangle 5">
              <a:extLst>
                <a:ext uri="{FF2B5EF4-FFF2-40B4-BE49-F238E27FC236}">
                  <a16:creationId xmlns:a16="http://schemas.microsoft.com/office/drawing/2014/main" id="{4AF65C91-7154-48D7-81E1-DE2A1615832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65" y="1181"/>
              <a:ext cx="1950" cy="19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7" name="Freeform 6">
              <a:extLst>
                <a:ext uri="{FF2B5EF4-FFF2-40B4-BE49-F238E27FC236}">
                  <a16:creationId xmlns:a16="http://schemas.microsoft.com/office/drawing/2014/main" id="{2567B816-663F-4518-AB67-FF7A98D83D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463"/>
              <a:ext cx="90" cy="109"/>
            </a:xfrm>
            <a:custGeom>
              <a:avLst/>
              <a:gdLst>
                <a:gd name="T0" fmla="*/ 5 w 132"/>
                <a:gd name="T1" fmla="*/ 4 h 160"/>
                <a:gd name="T2" fmla="*/ 0 w 132"/>
                <a:gd name="T3" fmla="*/ 26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8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5 w 132"/>
                <a:gd name="T75" fmla="*/ 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5" y="4"/>
                  </a:moveTo>
                  <a:cubicBezTo>
                    <a:pt x="4" y="5"/>
                    <a:pt x="0" y="24"/>
                    <a:pt x="0" y="26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6" y="27"/>
                    <a:pt x="9" y="21"/>
                    <a:pt x="9" y="21"/>
                  </a:cubicBezTo>
                  <a:cubicBezTo>
                    <a:pt x="12" y="17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8" name="Freeform 7">
              <a:extLst>
                <a:ext uri="{FF2B5EF4-FFF2-40B4-BE49-F238E27FC236}">
                  <a16:creationId xmlns:a16="http://schemas.microsoft.com/office/drawing/2014/main" id="{5B7F641C-29EB-499A-A38F-F6CEC596E2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7" y="2465"/>
              <a:ext cx="111" cy="107"/>
            </a:xfrm>
            <a:custGeom>
              <a:avLst/>
              <a:gdLst>
                <a:gd name="T0" fmla="*/ 134 w 164"/>
                <a:gd name="T1" fmla="*/ 0 h 157"/>
                <a:gd name="T2" fmla="*/ 111 w 164"/>
                <a:gd name="T3" fmla="*/ 0 h 157"/>
                <a:gd name="T4" fmla="*/ 110 w 164"/>
                <a:gd name="T5" fmla="*/ 6 h 157"/>
                <a:gd name="T6" fmla="*/ 124 w 164"/>
                <a:gd name="T7" fmla="*/ 16 h 157"/>
                <a:gd name="T8" fmla="*/ 124 w 164"/>
                <a:gd name="T9" fmla="*/ 65 h 157"/>
                <a:gd name="T10" fmla="*/ 38 w 164"/>
                <a:gd name="T11" fmla="*/ 60 h 157"/>
                <a:gd name="T12" fmla="*/ 45 w 164"/>
                <a:gd name="T13" fmla="*/ 6 h 157"/>
                <a:gd name="T14" fmla="*/ 53 w 164"/>
                <a:gd name="T15" fmla="*/ 3 h 157"/>
                <a:gd name="T16" fmla="*/ 31 w 164"/>
                <a:gd name="T17" fmla="*/ 0 h 157"/>
                <a:gd name="T18" fmla="*/ 25 w 164"/>
                <a:gd name="T19" fmla="*/ 0 h 157"/>
                <a:gd name="T20" fmla="*/ 0 w 164"/>
                <a:gd name="T21" fmla="*/ 3 h 157"/>
                <a:gd name="T22" fmla="*/ 10 w 164"/>
                <a:gd name="T23" fmla="*/ 6 h 157"/>
                <a:gd name="T24" fmla="*/ 18 w 164"/>
                <a:gd name="T25" fmla="*/ 60 h 157"/>
                <a:gd name="T26" fmla="*/ 17 w 164"/>
                <a:gd name="T27" fmla="*/ 141 h 157"/>
                <a:gd name="T28" fmla="*/ 6 w 164"/>
                <a:gd name="T29" fmla="*/ 151 h 157"/>
                <a:gd name="T30" fmla="*/ 8 w 164"/>
                <a:gd name="T31" fmla="*/ 157 h 157"/>
                <a:gd name="T32" fmla="*/ 28 w 164"/>
                <a:gd name="T33" fmla="*/ 157 h 157"/>
                <a:gd name="T34" fmla="*/ 53 w 164"/>
                <a:gd name="T35" fmla="*/ 157 h 157"/>
                <a:gd name="T36" fmla="*/ 55 w 164"/>
                <a:gd name="T37" fmla="*/ 151 h 157"/>
                <a:gd name="T38" fmla="*/ 39 w 164"/>
                <a:gd name="T39" fmla="*/ 141 h 157"/>
                <a:gd name="T40" fmla="*/ 38 w 164"/>
                <a:gd name="T41" fmla="*/ 75 h 157"/>
                <a:gd name="T42" fmla="*/ 124 w 164"/>
                <a:gd name="T43" fmla="*/ 96 h 157"/>
                <a:gd name="T44" fmla="*/ 118 w 164"/>
                <a:gd name="T45" fmla="*/ 150 h 157"/>
                <a:gd name="T46" fmla="*/ 109 w 164"/>
                <a:gd name="T47" fmla="*/ 154 h 157"/>
                <a:gd name="T48" fmla="*/ 131 w 164"/>
                <a:gd name="T49" fmla="*/ 157 h 157"/>
                <a:gd name="T50" fmla="*/ 137 w 164"/>
                <a:gd name="T51" fmla="*/ 157 h 157"/>
                <a:gd name="T52" fmla="*/ 164 w 164"/>
                <a:gd name="T53" fmla="*/ 154 h 157"/>
                <a:gd name="T54" fmla="*/ 152 w 164"/>
                <a:gd name="T55" fmla="*/ 150 h 157"/>
                <a:gd name="T56" fmla="*/ 144 w 164"/>
                <a:gd name="T57" fmla="*/ 96 h 157"/>
                <a:gd name="T58" fmla="*/ 145 w 164"/>
                <a:gd name="T59" fmla="*/ 16 h 157"/>
                <a:gd name="T60" fmla="*/ 156 w 164"/>
                <a:gd name="T61" fmla="*/ 6 h 157"/>
                <a:gd name="T62" fmla="*/ 154 w 164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4" h="157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06" y="0"/>
                    <a:pt x="106" y="3"/>
                  </a:cubicBezTo>
                  <a:cubicBezTo>
                    <a:pt x="106" y="4"/>
                    <a:pt x="108" y="6"/>
                    <a:pt x="110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22" y="7"/>
                    <a:pt x="123" y="10"/>
                    <a:pt x="124" y="1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0"/>
                    <a:pt x="40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1"/>
                    <a:pt x="51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7" y="16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7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53" y="157"/>
                    <a:pt x="53" y="157"/>
                    <a:pt x="53" y="157"/>
                  </a:cubicBezTo>
                  <a:cubicBezTo>
                    <a:pt x="57" y="157"/>
                    <a:pt x="58" y="155"/>
                    <a:pt x="58" y="154"/>
                  </a:cubicBezTo>
                  <a:cubicBezTo>
                    <a:pt x="58" y="153"/>
                    <a:pt x="57" y="151"/>
                    <a:pt x="55" y="151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1" y="150"/>
                    <a:pt x="40" y="147"/>
                    <a:pt x="39" y="141"/>
                  </a:cubicBezTo>
                  <a:cubicBezTo>
                    <a:pt x="38" y="132"/>
                    <a:pt x="38" y="116"/>
                    <a:pt x="38" y="9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116"/>
                    <a:pt x="124" y="132"/>
                    <a:pt x="123" y="141"/>
                  </a:cubicBezTo>
                  <a:cubicBezTo>
                    <a:pt x="122" y="146"/>
                    <a:pt x="121" y="150"/>
                    <a:pt x="118" y="150"/>
                  </a:cubicBezTo>
                  <a:cubicBezTo>
                    <a:pt x="118" y="150"/>
                    <a:pt x="113" y="151"/>
                    <a:pt x="113" y="151"/>
                  </a:cubicBezTo>
                  <a:cubicBezTo>
                    <a:pt x="110" y="151"/>
                    <a:pt x="109" y="153"/>
                    <a:pt x="109" y="154"/>
                  </a:cubicBezTo>
                  <a:cubicBezTo>
                    <a:pt x="109" y="157"/>
                    <a:pt x="113" y="157"/>
                    <a:pt x="114" y="157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4" y="157"/>
                    <a:pt x="134" y="157"/>
                    <a:pt x="134" y="157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59" y="157"/>
                    <a:pt x="159" y="157"/>
                    <a:pt x="159" y="157"/>
                  </a:cubicBezTo>
                  <a:cubicBezTo>
                    <a:pt x="164" y="157"/>
                    <a:pt x="164" y="155"/>
                    <a:pt x="164" y="154"/>
                  </a:cubicBezTo>
                  <a:cubicBezTo>
                    <a:pt x="164" y="153"/>
                    <a:pt x="163" y="151"/>
                    <a:pt x="16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7" y="150"/>
                    <a:pt x="146" y="147"/>
                    <a:pt x="145" y="141"/>
                  </a:cubicBezTo>
                  <a:cubicBezTo>
                    <a:pt x="144" y="132"/>
                    <a:pt x="144" y="116"/>
                    <a:pt x="144" y="96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9"/>
                    <a:pt x="147" y="7"/>
                    <a:pt x="151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8" y="6"/>
                    <a:pt x="159" y="4"/>
                    <a:pt x="159" y="3"/>
                  </a:cubicBezTo>
                  <a:cubicBezTo>
                    <a:pt x="159" y="0"/>
                    <a:pt x="155" y="0"/>
                    <a:pt x="154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89" name="Freeform 8">
              <a:extLst>
                <a:ext uri="{FF2B5EF4-FFF2-40B4-BE49-F238E27FC236}">
                  <a16:creationId xmlns:a16="http://schemas.microsoft.com/office/drawing/2014/main" id="{F957B433-20D6-46B7-B64B-CC7658BF95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5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3 w 94"/>
                <a:gd name="T15" fmla="*/ 8 h 160"/>
                <a:gd name="T16" fmla="*/ 10 w 94"/>
                <a:gd name="T17" fmla="*/ 8 h 160"/>
                <a:gd name="T18" fmla="*/ 17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6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4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8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7 w 94"/>
                <a:gd name="T49" fmla="*/ 133 h 160"/>
                <a:gd name="T50" fmla="*/ 79 w 94"/>
                <a:gd name="T51" fmla="*/ 146 h 160"/>
                <a:gd name="T52" fmla="*/ 60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6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5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5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6 h 160"/>
                <a:gd name="T98" fmla="*/ 87 w 94"/>
                <a:gd name="T99" fmla="*/ 13 h 160"/>
                <a:gd name="T100" fmla="*/ 88 w 94"/>
                <a:gd name="T101" fmla="*/ 6 h 160"/>
                <a:gd name="T102" fmla="*/ 89 w 94"/>
                <a:gd name="T103" fmla="*/ 3 h 160"/>
                <a:gd name="T104" fmla="*/ 86 w 94"/>
                <a:gd name="T105" fmla="*/ 0 h 160"/>
                <a:gd name="T106" fmla="*/ 84 w 94"/>
                <a:gd name="T10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86" y="160"/>
                    <a:pt x="89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8" y="129"/>
                    <a:pt x="88" y="131"/>
                    <a:pt x="87" y="133"/>
                  </a:cubicBezTo>
                  <a:cubicBezTo>
                    <a:pt x="86" y="141"/>
                    <a:pt x="84" y="144"/>
                    <a:pt x="79" y="146"/>
                  </a:cubicBezTo>
                  <a:cubicBezTo>
                    <a:pt x="74" y="149"/>
                    <a:pt x="65" y="149"/>
                    <a:pt x="60" y="149"/>
                  </a:cubicBezTo>
                  <a:cubicBezTo>
                    <a:pt x="40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4" y="82"/>
                    <a:pt x="76" y="85"/>
                    <a:pt x="76" y="88"/>
                  </a:cubicBezTo>
                  <a:cubicBezTo>
                    <a:pt x="76" y="88"/>
                    <a:pt x="77" y="94"/>
                    <a:pt x="77" y="94"/>
                  </a:cubicBezTo>
                  <a:cubicBezTo>
                    <a:pt x="77" y="96"/>
                    <a:pt x="78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5" y="64"/>
                    <a:pt x="83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7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3"/>
                    <a:pt x="62" y="13"/>
                    <a:pt x="65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79" y="19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5" y="30"/>
                    <a:pt x="86" y="27"/>
                  </a:cubicBezTo>
                  <a:cubicBezTo>
                    <a:pt x="86" y="27"/>
                    <a:pt x="87" y="16"/>
                    <a:pt x="87" y="16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88" y="6"/>
                    <a:pt x="88" y="6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6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0" name="Freeform 9">
              <a:extLst>
                <a:ext uri="{FF2B5EF4-FFF2-40B4-BE49-F238E27FC236}">
                  <a16:creationId xmlns:a16="http://schemas.microsoft.com/office/drawing/2014/main" id="{38A07266-EBD2-4019-A6D9-DF674210D9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2465"/>
              <a:ext cx="106" cy="109"/>
            </a:xfrm>
            <a:custGeom>
              <a:avLst/>
              <a:gdLst>
                <a:gd name="T0" fmla="*/ 138 w 156"/>
                <a:gd name="T1" fmla="*/ 0 h 160"/>
                <a:gd name="T2" fmla="*/ 134 w 156"/>
                <a:gd name="T3" fmla="*/ 0 h 160"/>
                <a:gd name="T4" fmla="*/ 132 w 156"/>
                <a:gd name="T5" fmla="*/ 0 h 160"/>
                <a:gd name="T6" fmla="*/ 113 w 156"/>
                <a:gd name="T7" fmla="*/ 0 h 160"/>
                <a:gd name="T8" fmla="*/ 108 w 156"/>
                <a:gd name="T9" fmla="*/ 3 h 160"/>
                <a:gd name="T10" fmla="*/ 111 w 156"/>
                <a:gd name="T11" fmla="*/ 6 h 160"/>
                <a:gd name="T12" fmla="*/ 118 w 156"/>
                <a:gd name="T13" fmla="*/ 6 h 160"/>
                <a:gd name="T14" fmla="*/ 125 w 156"/>
                <a:gd name="T15" fmla="*/ 16 h 160"/>
                <a:gd name="T16" fmla="*/ 126 w 156"/>
                <a:gd name="T17" fmla="*/ 60 h 160"/>
                <a:gd name="T18" fmla="*/ 126 w 156"/>
                <a:gd name="T19" fmla="*/ 86 h 160"/>
                <a:gd name="T20" fmla="*/ 114 w 156"/>
                <a:gd name="T21" fmla="*/ 135 h 160"/>
                <a:gd name="T22" fmla="*/ 83 w 156"/>
                <a:gd name="T23" fmla="*/ 149 h 160"/>
                <a:gd name="T24" fmla="*/ 54 w 156"/>
                <a:gd name="T25" fmla="*/ 138 h 160"/>
                <a:gd name="T26" fmla="*/ 39 w 156"/>
                <a:gd name="T27" fmla="*/ 89 h 160"/>
                <a:gd name="T28" fmla="*/ 39 w 156"/>
                <a:gd name="T29" fmla="*/ 60 h 160"/>
                <a:gd name="T30" fmla="*/ 39 w 156"/>
                <a:gd name="T31" fmla="*/ 16 h 160"/>
                <a:gd name="T32" fmla="*/ 45 w 156"/>
                <a:gd name="T33" fmla="*/ 6 h 160"/>
                <a:gd name="T34" fmla="*/ 50 w 156"/>
                <a:gd name="T35" fmla="*/ 6 h 160"/>
                <a:gd name="T36" fmla="*/ 53 w 156"/>
                <a:gd name="T37" fmla="*/ 3 h 160"/>
                <a:gd name="T38" fmla="*/ 49 w 156"/>
                <a:gd name="T39" fmla="*/ 0 h 160"/>
                <a:gd name="T40" fmla="*/ 34 w 156"/>
                <a:gd name="T41" fmla="*/ 0 h 160"/>
                <a:gd name="T42" fmla="*/ 28 w 156"/>
                <a:gd name="T43" fmla="*/ 0 h 160"/>
                <a:gd name="T44" fmla="*/ 24 w 156"/>
                <a:gd name="T45" fmla="*/ 0 h 160"/>
                <a:gd name="T46" fmla="*/ 5 w 156"/>
                <a:gd name="T47" fmla="*/ 0 h 160"/>
                <a:gd name="T48" fmla="*/ 0 w 156"/>
                <a:gd name="T49" fmla="*/ 3 h 160"/>
                <a:gd name="T50" fmla="*/ 3 w 156"/>
                <a:gd name="T51" fmla="*/ 6 h 160"/>
                <a:gd name="T52" fmla="*/ 10 w 156"/>
                <a:gd name="T53" fmla="*/ 6 h 160"/>
                <a:gd name="T54" fmla="*/ 17 w 156"/>
                <a:gd name="T55" fmla="*/ 16 h 160"/>
                <a:gd name="T56" fmla="*/ 18 w 156"/>
                <a:gd name="T57" fmla="*/ 60 h 160"/>
                <a:gd name="T58" fmla="*/ 18 w 156"/>
                <a:gd name="T59" fmla="*/ 90 h 160"/>
                <a:gd name="T60" fmla="*/ 36 w 156"/>
                <a:gd name="T61" fmla="*/ 145 h 160"/>
                <a:gd name="T62" fmla="*/ 79 w 156"/>
                <a:gd name="T63" fmla="*/ 160 h 160"/>
                <a:gd name="T64" fmla="*/ 122 w 156"/>
                <a:gd name="T65" fmla="*/ 145 h 160"/>
                <a:gd name="T66" fmla="*/ 142 w 156"/>
                <a:gd name="T67" fmla="*/ 82 h 160"/>
                <a:gd name="T68" fmla="*/ 142 w 156"/>
                <a:gd name="T69" fmla="*/ 60 h 160"/>
                <a:gd name="T70" fmla="*/ 142 w 156"/>
                <a:gd name="T71" fmla="*/ 16 h 160"/>
                <a:gd name="T72" fmla="*/ 148 w 156"/>
                <a:gd name="T73" fmla="*/ 6 h 160"/>
                <a:gd name="T74" fmla="*/ 153 w 156"/>
                <a:gd name="T75" fmla="*/ 6 h 160"/>
                <a:gd name="T76" fmla="*/ 156 w 156"/>
                <a:gd name="T77" fmla="*/ 3 h 160"/>
                <a:gd name="T78" fmla="*/ 152 w 156"/>
                <a:gd name="T79" fmla="*/ 0 h 160"/>
                <a:gd name="T80" fmla="*/ 138 w 156"/>
                <a:gd name="T8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" h="160">
                  <a:moveTo>
                    <a:pt x="138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08" y="0"/>
                    <a:pt x="108" y="3"/>
                  </a:cubicBezTo>
                  <a:cubicBezTo>
                    <a:pt x="108" y="4"/>
                    <a:pt x="109" y="6"/>
                    <a:pt x="111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24" y="7"/>
                    <a:pt x="125" y="10"/>
                    <a:pt x="125" y="16"/>
                  </a:cubicBezTo>
                  <a:cubicBezTo>
                    <a:pt x="125" y="16"/>
                    <a:pt x="126" y="60"/>
                    <a:pt x="126" y="60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6" y="110"/>
                    <a:pt x="122" y="125"/>
                    <a:pt x="114" y="135"/>
                  </a:cubicBezTo>
                  <a:cubicBezTo>
                    <a:pt x="107" y="144"/>
                    <a:pt x="95" y="149"/>
                    <a:pt x="83" y="149"/>
                  </a:cubicBezTo>
                  <a:cubicBezTo>
                    <a:pt x="72" y="149"/>
                    <a:pt x="63" y="147"/>
                    <a:pt x="54" y="138"/>
                  </a:cubicBezTo>
                  <a:cubicBezTo>
                    <a:pt x="46" y="131"/>
                    <a:pt x="39" y="120"/>
                    <a:pt x="39" y="8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9"/>
                    <a:pt x="41" y="7"/>
                    <a:pt x="45" y="6"/>
                  </a:cubicBezTo>
                  <a:cubicBezTo>
                    <a:pt x="45" y="6"/>
                    <a:pt x="50" y="6"/>
                    <a:pt x="50" y="6"/>
                  </a:cubicBezTo>
                  <a:cubicBezTo>
                    <a:pt x="52" y="6"/>
                    <a:pt x="53" y="4"/>
                    <a:pt x="53" y="3"/>
                  </a:cubicBezTo>
                  <a:cubicBezTo>
                    <a:pt x="53" y="0"/>
                    <a:pt x="50" y="0"/>
                    <a:pt x="4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123"/>
                    <a:pt x="28" y="137"/>
                    <a:pt x="36" y="145"/>
                  </a:cubicBezTo>
                  <a:cubicBezTo>
                    <a:pt x="50" y="158"/>
                    <a:pt x="69" y="160"/>
                    <a:pt x="79" y="160"/>
                  </a:cubicBezTo>
                  <a:cubicBezTo>
                    <a:pt x="90" y="160"/>
                    <a:pt x="107" y="159"/>
                    <a:pt x="122" y="145"/>
                  </a:cubicBezTo>
                  <a:cubicBezTo>
                    <a:pt x="140" y="129"/>
                    <a:pt x="142" y="103"/>
                    <a:pt x="142" y="82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3" y="9"/>
                    <a:pt x="144" y="7"/>
                    <a:pt x="148" y="6"/>
                  </a:cubicBezTo>
                  <a:cubicBezTo>
                    <a:pt x="149" y="6"/>
                    <a:pt x="153" y="6"/>
                    <a:pt x="153" y="6"/>
                  </a:cubicBezTo>
                  <a:cubicBezTo>
                    <a:pt x="155" y="6"/>
                    <a:pt x="156" y="4"/>
                    <a:pt x="156" y="3"/>
                  </a:cubicBezTo>
                  <a:cubicBezTo>
                    <a:pt x="156" y="0"/>
                    <a:pt x="153" y="0"/>
                    <a:pt x="152" y="0"/>
                  </a:cubicBez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1" name="Freeform 10">
              <a:extLst>
                <a:ext uri="{FF2B5EF4-FFF2-40B4-BE49-F238E27FC236}">
                  <a16:creationId xmlns:a16="http://schemas.microsoft.com/office/drawing/2014/main" id="{2D1170DA-E4AC-4CBB-A9DD-039B36C0DA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463"/>
              <a:ext cx="114" cy="110"/>
            </a:xfrm>
            <a:custGeom>
              <a:avLst/>
              <a:gdLst>
                <a:gd name="T0" fmla="*/ 17 w 168"/>
                <a:gd name="T1" fmla="*/ 12 h 162"/>
                <a:gd name="T2" fmla="*/ 17 w 168"/>
                <a:gd name="T3" fmla="*/ 129 h 162"/>
                <a:gd name="T4" fmla="*/ 12 w 168"/>
                <a:gd name="T5" fmla="*/ 153 h 162"/>
                <a:gd name="T6" fmla="*/ 4 w 168"/>
                <a:gd name="T7" fmla="*/ 154 h 162"/>
                <a:gd name="T8" fmla="*/ 0 w 168"/>
                <a:gd name="T9" fmla="*/ 157 h 162"/>
                <a:gd name="T10" fmla="*/ 5 w 168"/>
                <a:gd name="T11" fmla="*/ 160 h 162"/>
                <a:gd name="T12" fmla="*/ 22 w 168"/>
                <a:gd name="T13" fmla="*/ 160 h 162"/>
                <a:gd name="T14" fmla="*/ 25 w 168"/>
                <a:gd name="T15" fmla="*/ 160 h 162"/>
                <a:gd name="T16" fmla="*/ 28 w 168"/>
                <a:gd name="T17" fmla="*/ 160 h 162"/>
                <a:gd name="T18" fmla="*/ 46 w 168"/>
                <a:gd name="T19" fmla="*/ 160 h 162"/>
                <a:gd name="T20" fmla="*/ 52 w 168"/>
                <a:gd name="T21" fmla="*/ 157 h 162"/>
                <a:gd name="T22" fmla="*/ 49 w 168"/>
                <a:gd name="T23" fmla="*/ 154 h 162"/>
                <a:gd name="T24" fmla="*/ 39 w 168"/>
                <a:gd name="T25" fmla="*/ 153 h 162"/>
                <a:gd name="T26" fmla="*/ 32 w 168"/>
                <a:gd name="T27" fmla="*/ 131 h 162"/>
                <a:gd name="T28" fmla="*/ 29 w 168"/>
                <a:gd name="T29" fmla="*/ 37 h 162"/>
                <a:gd name="T30" fmla="*/ 80 w 168"/>
                <a:gd name="T31" fmla="*/ 93 h 162"/>
                <a:gd name="T32" fmla="*/ 133 w 168"/>
                <a:gd name="T33" fmla="*/ 148 h 162"/>
                <a:gd name="T34" fmla="*/ 149 w 168"/>
                <a:gd name="T35" fmla="*/ 162 h 162"/>
                <a:gd name="T36" fmla="*/ 153 w 168"/>
                <a:gd name="T37" fmla="*/ 146 h 162"/>
                <a:gd name="T38" fmla="*/ 153 w 168"/>
                <a:gd name="T39" fmla="*/ 26 h 162"/>
                <a:gd name="T40" fmla="*/ 159 w 168"/>
                <a:gd name="T41" fmla="*/ 9 h 162"/>
                <a:gd name="T42" fmla="*/ 164 w 168"/>
                <a:gd name="T43" fmla="*/ 9 h 162"/>
                <a:gd name="T44" fmla="*/ 168 w 168"/>
                <a:gd name="T45" fmla="*/ 6 h 162"/>
                <a:gd name="T46" fmla="*/ 163 w 168"/>
                <a:gd name="T47" fmla="*/ 3 h 162"/>
                <a:gd name="T48" fmla="*/ 149 w 168"/>
                <a:gd name="T49" fmla="*/ 3 h 162"/>
                <a:gd name="T50" fmla="*/ 145 w 168"/>
                <a:gd name="T51" fmla="*/ 3 h 162"/>
                <a:gd name="T52" fmla="*/ 141 w 168"/>
                <a:gd name="T53" fmla="*/ 3 h 162"/>
                <a:gd name="T54" fmla="*/ 124 w 168"/>
                <a:gd name="T55" fmla="*/ 3 h 162"/>
                <a:gd name="T56" fmla="*/ 118 w 168"/>
                <a:gd name="T57" fmla="*/ 6 h 162"/>
                <a:gd name="T58" fmla="*/ 121 w 168"/>
                <a:gd name="T59" fmla="*/ 9 h 162"/>
                <a:gd name="T60" fmla="*/ 131 w 168"/>
                <a:gd name="T61" fmla="*/ 10 h 162"/>
                <a:gd name="T62" fmla="*/ 138 w 168"/>
                <a:gd name="T63" fmla="*/ 28 h 162"/>
                <a:gd name="T64" fmla="*/ 140 w 168"/>
                <a:gd name="T65" fmla="*/ 127 h 162"/>
                <a:gd name="T66" fmla="*/ 125 w 168"/>
                <a:gd name="T67" fmla="*/ 111 h 162"/>
                <a:gd name="T68" fmla="*/ 94 w 168"/>
                <a:gd name="T69" fmla="*/ 77 h 162"/>
                <a:gd name="T70" fmla="*/ 27 w 168"/>
                <a:gd name="T71" fmla="*/ 5 h 162"/>
                <a:gd name="T72" fmla="*/ 21 w 168"/>
                <a:gd name="T73" fmla="*/ 0 h 162"/>
                <a:gd name="T74" fmla="*/ 17 w 168"/>
                <a:gd name="T75" fmla="*/ 1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162">
                  <a:moveTo>
                    <a:pt x="17" y="1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7" y="147"/>
                    <a:pt x="16" y="152"/>
                    <a:pt x="12" y="153"/>
                  </a:cubicBezTo>
                  <a:cubicBezTo>
                    <a:pt x="11" y="153"/>
                    <a:pt x="4" y="154"/>
                    <a:pt x="4" y="154"/>
                  </a:cubicBezTo>
                  <a:cubicBezTo>
                    <a:pt x="1" y="154"/>
                    <a:pt x="0" y="156"/>
                    <a:pt x="0" y="157"/>
                  </a:cubicBezTo>
                  <a:cubicBezTo>
                    <a:pt x="0" y="160"/>
                    <a:pt x="4" y="160"/>
                    <a:pt x="5" y="160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8" y="160"/>
                    <a:pt x="52" y="160"/>
                    <a:pt x="52" y="157"/>
                  </a:cubicBezTo>
                  <a:cubicBezTo>
                    <a:pt x="52" y="156"/>
                    <a:pt x="51" y="154"/>
                    <a:pt x="49" y="154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35" y="152"/>
                    <a:pt x="32" y="148"/>
                    <a:pt x="32" y="131"/>
                  </a:cubicBezTo>
                  <a:cubicBezTo>
                    <a:pt x="32" y="131"/>
                    <a:pt x="30" y="45"/>
                    <a:pt x="29" y="37"/>
                  </a:cubicBezTo>
                  <a:cubicBezTo>
                    <a:pt x="34" y="43"/>
                    <a:pt x="80" y="93"/>
                    <a:pt x="80" y="93"/>
                  </a:cubicBezTo>
                  <a:cubicBezTo>
                    <a:pt x="102" y="117"/>
                    <a:pt x="131" y="146"/>
                    <a:pt x="133" y="148"/>
                  </a:cubicBezTo>
                  <a:cubicBezTo>
                    <a:pt x="145" y="160"/>
                    <a:pt x="147" y="162"/>
                    <a:pt x="149" y="162"/>
                  </a:cubicBezTo>
                  <a:cubicBezTo>
                    <a:pt x="152" y="162"/>
                    <a:pt x="153" y="159"/>
                    <a:pt x="153" y="146"/>
                  </a:cubicBezTo>
                  <a:cubicBezTo>
                    <a:pt x="153" y="146"/>
                    <a:pt x="153" y="26"/>
                    <a:pt x="153" y="26"/>
                  </a:cubicBezTo>
                  <a:cubicBezTo>
                    <a:pt x="153" y="13"/>
                    <a:pt x="154" y="10"/>
                    <a:pt x="159" y="9"/>
                  </a:cubicBezTo>
                  <a:cubicBezTo>
                    <a:pt x="159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6"/>
                  </a:cubicBezTo>
                  <a:cubicBezTo>
                    <a:pt x="168" y="3"/>
                    <a:pt x="164" y="3"/>
                    <a:pt x="163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2" y="3"/>
                    <a:pt x="118" y="3"/>
                    <a:pt x="118" y="6"/>
                  </a:cubicBezTo>
                  <a:cubicBezTo>
                    <a:pt x="118" y="8"/>
                    <a:pt x="119" y="9"/>
                    <a:pt x="12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6" y="11"/>
                    <a:pt x="138" y="14"/>
                    <a:pt x="138" y="28"/>
                  </a:cubicBezTo>
                  <a:cubicBezTo>
                    <a:pt x="138" y="28"/>
                    <a:pt x="140" y="108"/>
                    <a:pt x="140" y="127"/>
                  </a:cubicBezTo>
                  <a:cubicBezTo>
                    <a:pt x="136" y="123"/>
                    <a:pt x="125" y="111"/>
                    <a:pt x="125" y="111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7" y="0"/>
                    <a:pt x="17" y="4"/>
                    <a:pt x="17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2" name="Freeform 11">
              <a:extLst>
                <a:ext uri="{FF2B5EF4-FFF2-40B4-BE49-F238E27FC236}">
                  <a16:creationId xmlns:a16="http://schemas.microsoft.com/office/drawing/2014/main" id="{7ED7B575-029E-43C2-AB03-C55C2F9DB4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" y="2465"/>
              <a:ext cx="38" cy="107"/>
            </a:xfrm>
            <a:custGeom>
              <a:avLst/>
              <a:gdLst>
                <a:gd name="T0" fmla="*/ 29 w 56"/>
                <a:gd name="T1" fmla="*/ 0 h 157"/>
                <a:gd name="T2" fmla="*/ 26 w 56"/>
                <a:gd name="T3" fmla="*/ 0 h 157"/>
                <a:gd name="T4" fmla="*/ 23 w 56"/>
                <a:gd name="T5" fmla="*/ 0 h 157"/>
                <a:gd name="T6" fmla="*/ 5 w 56"/>
                <a:gd name="T7" fmla="*/ 0 h 157"/>
                <a:gd name="T8" fmla="*/ 0 w 56"/>
                <a:gd name="T9" fmla="*/ 3 h 157"/>
                <a:gd name="T10" fmla="*/ 4 w 56"/>
                <a:gd name="T11" fmla="*/ 6 h 157"/>
                <a:gd name="T12" fmla="*/ 10 w 56"/>
                <a:gd name="T13" fmla="*/ 6 h 157"/>
                <a:gd name="T14" fmla="*/ 15 w 56"/>
                <a:gd name="T15" fmla="*/ 16 h 157"/>
                <a:gd name="T16" fmla="*/ 16 w 56"/>
                <a:gd name="T17" fmla="*/ 60 h 157"/>
                <a:gd name="T18" fmla="*/ 16 w 56"/>
                <a:gd name="T19" fmla="*/ 96 h 157"/>
                <a:gd name="T20" fmla="*/ 15 w 56"/>
                <a:gd name="T21" fmla="*/ 141 h 157"/>
                <a:gd name="T22" fmla="*/ 10 w 56"/>
                <a:gd name="T23" fmla="*/ 150 h 157"/>
                <a:gd name="T24" fmla="*/ 4 w 56"/>
                <a:gd name="T25" fmla="*/ 151 h 157"/>
                <a:gd name="T26" fmla="*/ 1 w 56"/>
                <a:gd name="T27" fmla="*/ 154 h 157"/>
                <a:gd name="T28" fmla="*/ 6 w 56"/>
                <a:gd name="T29" fmla="*/ 157 h 157"/>
                <a:gd name="T30" fmla="*/ 22 w 56"/>
                <a:gd name="T31" fmla="*/ 157 h 157"/>
                <a:gd name="T32" fmla="*/ 26 w 56"/>
                <a:gd name="T33" fmla="*/ 157 h 157"/>
                <a:gd name="T34" fmla="*/ 28 w 56"/>
                <a:gd name="T35" fmla="*/ 157 h 157"/>
                <a:gd name="T36" fmla="*/ 51 w 56"/>
                <a:gd name="T37" fmla="*/ 157 h 157"/>
                <a:gd name="T38" fmla="*/ 56 w 56"/>
                <a:gd name="T39" fmla="*/ 154 h 157"/>
                <a:gd name="T40" fmla="*/ 53 w 56"/>
                <a:gd name="T41" fmla="*/ 151 h 157"/>
                <a:gd name="T42" fmla="*/ 44 w 56"/>
                <a:gd name="T43" fmla="*/ 150 h 157"/>
                <a:gd name="T44" fmla="*/ 37 w 56"/>
                <a:gd name="T45" fmla="*/ 141 h 157"/>
                <a:gd name="T46" fmla="*/ 36 w 56"/>
                <a:gd name="T47" fmla="*/ 96 h 157"/>
                <a:gd name="T48" fmla="*/ 36 w 56"/>
                <a:gd name="T49" fmla="*/ 60 h 157"/>
                <a:gd name="T50" fmla="*/ 36 w 56"/>
                <a:gd name="T51" fmla="*/ 16 h 157"/>
                <a:gd name="T52" fmla="*/ 43 w 56"/>
                <a:gd name="T53" fmla="*/ 6 h 157"/>
                <a:gd name="T54" fmla="*/ 47 w 56"/>
                <a:gd name="T55" fmla="*/ 6 h 157"/>
                <a:gd name="T56" fmla="*/ 51 w 56"/>
                <a:gd name="T57" fmla="*/ 3 h 157"/>
                <a:gd name="T58" fmla="*/ 46 w 56"/>
                <a:gd name="T59" fmla="*/ 0 h 157"/>
                <a:gd name="T60" fmla="*/ 29 w 56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57">
                  <a:moveTo>
                    <a:pt x="2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7"/>
                    <a:pt x="15" y="9"/>
                    <a:pt x="15" y="16"/>
                  </a:cubicBezTo>
                  <a:cubicBezTo>
                    <a:pt x="15" y="16"/>
                    <a:pt x="16" y="60"/>
                    <a:pt x="16" y="6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16"/>
                    <a:pt x="16" y="132"/>
                    <a:pt x="15" y="141"/>
                  </a:cubicBezTo>
                  <a:cubicBezTo>
                    <a:pt x="14" y="147"/>
                    <a:pt x="13" y="150"/>
                    <a:pt x="10" y="150"/>
                  </a:cubicBezTo>
                  <a:cubicBezTo>
                    <a:pt x="10" y="150"/>
                    <a:pt x="4" y="151"/>
                    <a:pt x="4" y="151"/>
                  </a:cubicBezTo>
                  <a:cubicBezTo>
                    <a:pt x="2" y="151"/>
                    <a:pt x="1" y="153"/>
                    <a:pt x="1" y="154"/>
                  </a:cubicBezTo>
                  <a:cubicBezTo>
                    <a:pt x="1" y="157"/>
                    <a:pt x="5" y="157"/>
                    <a:pt x="6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1" y="157"/>
                    <a:pt x="51" y="157"/>
                    <a:pt x="51" y="157"/>
                  </a:cubicBezTo>
                  <a:cubicBezTo>
                    <a:pt x="55" y="157"/>
                    <a:pt x="56" y="155"/>
                    <a:pt x="56" y="154"/>
                  </a:cubicBezTo>
                  <a:cubicBezTo>
                    <a:pt x="56" y="153"/>
                    <a:pt x="55" y="151"/>
                    <a:pt x="53" y="151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50"/>
                    <a:pt x="38" y="147"/>
                    <a:pt x="37" y="141"/>
                  </a:cubicBezTo>
                  <a:cubicBezTo>
                    <a:pt x="36" y="132"/>
                    <a:pt x="36" y="116"/>
                    <a:pt x="36" y="96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0"/>
                    <a:pt x="38" y="7"/>
                    <a:pt x="43" y="6"/>
                  </a:cubicBezTo>
                  <a:cubicBezTo>
                    <a:pt x="43" y="6"/>
                    <a:pt x="47" y="6"/>
                    <a:pt x="47" y="6"/>
                  </a:cubicBezTo>
                  <a:cubicBezTo>
                    <a:pt x="49" y="6"/>
                    <a:pt x="51" y="4"/>
                    <a:pt x="51" y="3"/>
                  </a:cubicBezTo>
                  <a:cubicBezTo>
                    <a:pt x="51" y="0"/>
                    <a:pt x="47" y="0"/>
                    <a:pt x="46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3" name="Freeform 12">
              <a:extLst>
                <a:ext uri="{FF2B5EF4-FFF2-40B4-BE49-F238E27FC236}">
                  <a16:creationId xmlns:a16="http://schemas.microsoft.com/office/drawing/2014/main" id="{68E47084-776D-470F-9E06-E306DCDF0A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0" y="2465"/>
              <a:ext cx="112" cy="109"/>
            </a:xfrm>
            <a:custGeom>
              <a:avLst/>
              <a:gdLst>
                <a:gd name="T0" fmla="*/ 148 w 166"/>
                <a:gd name="T1" fmla="*/ 0 h 160"/>
                <a:gd name="T2" fmla="*/ 145 w 166"/>
                <a:gd name="T3" fmla="*/ 0 h 160"/>
                <a:gd name="T4" fmla="*/ 140 w 166"/>
                <a:gd name="T5" fmla="*/ 0 h 160"/>
                <a:gd name="T6" fmla="*/ 125 w 166"/>
                <a:gd name="T7" fmla="*/ 0 h 160"/>
                <a:gd name="T8" fmla="*/ 119 w 166"/>
                <a:gd name="T9" fmla="*/ 3 h 160"/>
                <a:gd name="T10" fmla="*/ 123 w 166"/>
                <a:gd name="T11" fmla="*/ 6 h 160"/>
                <a:gd name="T12" fmla="*/ 130 w 166"/>
                <a:gd name="T13" fmla="*/ 6 h 160"/>
                <a:gd name="T14" fmla="*/ 131 w 166"/>
                <a:gd name="T15" fmla="*/ 10 h 160"/>
                <a:gd name="T16" fmla="*/ 130 w 166"/>
                <a:gd name="T17" fmla="*/ 17 h 160"/>
                <a:gd name="T18" fmla="*/ 88 w 166"/>
                <a:gd name="T19" fmla="*/ 127 h 160"/>
                <a:gd name="T20" fmla="*/ 50 w 166"/>
                <a:gd name="T21" fmla="*/ 26 h 160"/>
                <a:gd name="T22" fmla="*/ 44 w 166"/>
                <a:gd name="T23" fmla="*/ 9 h 160"/>
                <a:gd name="T24" fmla="*/ 46 w 166"/>
                <a:gd name="T25" fmla="*/ 7 h 160"/>
                <a:gd name="T26" fmla="*/ 53 w 166"/>
                <a:gd name="T27" fmla="*/ 6 h 160"/>
                <a:gd name="T28" fmla="*/ 57 w 166"/>
                <a:gd name="T29" fmla="*/ 3 h 160"/>
                <a:gd name="T30" fmla="*/ 50 w 166"/>
                <a:gd name="T31" fmla="*/ 0 h 160"/>
                <a:gd name="T32" fmla="*/ 35 w 166"/>
                <a:gd name="T33" fmla="*/ 0 h 160"/>
                <a:gd name="T34" fmla="*/ 31 w 166"/>
                <a:gd name="T35" fmla="*/ 0 h 160"/>
                <a:gd name="T36" fmla="*/ 26 w 166"/>
                <a:gd name="T37" fmla="*/ 0 h 160"/>
                <a:gd name="T38" fmla="*/ 7 w 166"/>
                <a:gd name="T39" fmla="*/ 0 h 160"/>
                <a:gd name="T40" fmla="*/ 0 w 166"/>
                <a:gd name="T41" fmla="*/ 3 h 160"/>
                <a:gd name="T42" fmla="*/ 3 w 166"/>
                <a:gd name="T43" fmla="*/ 6 h 160"/>
                <a:gd name="T44" fmla="*/ 10 w 166"/>
                <a:gd name="T45" fmla="*/ 6 h 160"/>
                <a:gd name="T46" fmla="*/ 24 w 166"/>
                <a:gd name="T47" fmla="*/ 21 h 160"/>
                <a:gd name="T48" fmla="*/ 75 w 166"/>
                <a:gd name="T49" fmla="*/ 148 h 160"/>
                <a:gd name="T50" fmla="*/ 83 w 166"/>
                <a:gd name="T51" fmla="*/ 160 h 160"/>
                <a:gd name="T52" fmla="*/ 89 w 166"/>
                <a:gd name="T53" fmla="*/ 151 h 160"/>
                <a:gd name="T54" fmla="*/ 93 w 166"/>
                <a:gd name="T55" fmla="*/ 144 h 160"/>
                <a:gd name="T56" fmla="*/ 118 w 166"/>
                <a:gd name="T57" fmla="*/ 84 h 160"/>
                <a:gd name="T58" fmla="*/ 130 w 166"/>
                <a:gd name="T59" fmla="*/ 55 h 160"/>
                <a:gd name="T60" fmla="*/ 142 w 166"/>
                <a:gd name="T61" fmla="*/ 26 h 160"/>
                <a:gd name="T62" fmla="*/ 153 w 166"/>
                <a:gd name="T63" fmla="*/ 8 h 160"/>
                <a:gd name="T64" fmla="*/ 162 w 166"/>
                <a:gd name="T65" fmla="*/ 6 h 160"/>
                <a:gd name="T66" fmla="*/ 166 w 166"/>
                <a:gd name="T67" fmla="*/ 3 h 160"/>
                <a:gd name="T68" fmla="*/ 161 w 166"/>
                <a:gd name="T69" fmla="*/ 0 h 160"/>
                <a:gd name="T70" fmla="*/ 148 w 166"/>
                <a:gd name="T7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0">
                  <a:moveTo>
                    <a:pt x="148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19" y="0"/>
                    <a:pt x="119" y="3"/>
                  </a:cubicBezTo>
                  <a:cubicBezTo>
                    <a:pt x="119" y="4"/>
                    <a:pt x="119" y="6"/>
                    <a:pt x="123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1" y="7"/>
                    <a:pt x="131" y="9"/>
                    <a:pt x="131" y="10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6" y="30"/>
                    <a:pt x="100" y="97"/>
                    <a:pt x="88" y="127"/>
                  </a:cubicBezTo>
                  <a:cubicBezTo>
                    <a:pt x="85" y="120"/>
                    <a:pt x="50" y="26"/>
                    <a:pt x="50" y="26"/>
                  </a:cubicBezTo>
                  <a:cubicBezTo>
                    <a:pt x="47" y="18"/>
                    <a:pt x="44" y="12"/>
                    <a:pt x="44" y="9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6" y="6"/>
                    <a:pt x="57" y="4"/>
                    <a:pt x="57" y="3"/>
                  </a:cubicBezTo>
                  <a:cubicBezTo>
                    <a:pt x="57" y="0"/>
                    <a:pt x="52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8"/>
                    <a:pt x="20" y="10"/>
                    <a:pt x="24" y="21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8" y="157"/>
                    <a:pt x="80" y="160"/>
                    <a:pt x="83" y="160"/>
                  </a:cubicBezTo>
                  <a:cubicBezTo>
                    <a:pt x="86" y="160"/>
                    <a:pt x="86" y="158"/>
                    <a:pt x="89" y="151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8" y="13"/>
                    <a:pt x="151" y="9"/>
                    <a:pt x="153" y="8"/>
                  </a:cubicBezTo>
                  <a:cubicBezTo>
                    <a:pt x="156" y="6"/>
                    <a:pt x="160" y="6"/>
                    <a:pt x="162" y="6"/>
                  </a:cubicBezTo>
                  <a:cubicBezTo>
                    <a:pt x="165" y="6"/>
                    <a:pt x="166" y="4"/>
                    <a:pt x="166" y="3"/>
                  </a:cubicBezTo>
                  <a:cubicBezTo>
                    <a:pt x="166" y="1"/>
                    <a:pt x="164" y="0"/>
                    <a:pt x="161" y="0"/>
                  </a:cubicBez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4" name="Freeform 13">
              <a:extLst>
                <a:ext uri="{FF2B5EF4-FFF2-40B4-BE49-F238E27FC236}">
                  <a16:creationId xmlns:a16="http://schemas.microsoft.com/office/drawing/2014/main" id="{7780C905-979A-4A6E-B85A-D3FC1596C5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8" y="2464"/>
              <a:ext cx="64" cy="108"/>
            </a:xfrm>
            <a:custGeom>
              <a:avLst/>
              <a:gdLst>
                <a:gd name="T0" fmla="*/ 84 w 94"/>
                <a:gd name="T1" fmla="*/ 1 h 160"/>
                <a:gd name="T2" fmla="*/ 83 w 94"/>
                <a:gd name="T3" fmla="*/ 1 h 160"/>
                <a:gd name="T4" fmla="*/ 75 w 94"/>
                <a:gd name="T5" fmla="*/ 2 h 160"/>
                <a:gd name="T6" fmla="*/ 28 w 94"/>
                <a:gd name="T7" fmla="*/ 2 h 160"/>
                <a:gd name="T8" fmla="*/ 26 w 94"/>
                <a:gd name="T9" fmla="*/ 2 h 160"/>
                <a:gd name="T10" fmla="*/ 5 w 94"/>
                <a:gd name="T11" fmla="*/ 2 h 160"/>
                <a:gd name="T12" fmla="*/ 0 w 94"/>
                <a:gd name="T13" fmla="*/ 5 h 160"/>
                <a:gd name="T14" fmla="*/ 4 w 94"/>
                <a:gd name="T15" fmla="*/ 8 h 160"/>
                <a:gd name="T16" fmla="*/ 10 w 94"/>
                <a:gd name="T17" fmla="*/ 8 h 160"/>
                <a:gd name="T18" fmla="*/ 18 w 94"/>
                <a:gd name="T19" fmla="*/ 18 h 160"/>
                <a:gd name="T20" fmla="*/ 18 w 94"/>
                <a:gd name="T21" fmla="*/ 62 h 160"/>
                <a:gd name="T22" fmla="*/ 18 w 94"/>
                <a:gd name="T23" fmla="*/ 98 h 160"/>
                <a:gd name="T24" fmla="*/ 17 w 94"/>
                <a:gd name="T25" fmla="*/ 143 h 160"/>
                <a:gd name="T26" fmla="*/ 12 w 94"/>
                <a:gd name="T27" fmla="*/ 152 h 160"/>
                <a:gd name="T28" fmla="*/ 7 w 94"/>
                <a:gd name="T29" fmla="*/ 153 h 160"/>
                <a:gd name="T30" fmla="*/ 3 w 94"/>
                <a:gd name="T31" fmla="*/ 156 h 160"/>
                <a:gd name="T32" fmla="*/ 8 w 94"/>
                <a:gd name="T33" fmla="*/ 159 h 160"/>
                <a:gd name="T34" fmla="*/ 25 w 94"/>
                <a:gd name="T35" fmla="*/ 159 h 160"/>
                <a:gd name="T36" fmla="*/ 28 w 94"/>
                <a:gd name="T37" fmla="*/ 159 h 160"/>
                <a:gd name="T38" fmla="*/ 36 w 94"/>
                <a:gd name="T39" fmla="*/ 159 h 160"/>
                <a:gd name="T40" fmla="*/ 79 w 94"/>
                <a:gd name="T41" fmla="*/ 160 h 160"/>
                <a:gd name="T42" fmla="*/ 91 w 94"/>
                <a:gd name="T43" fmla="*/ 153 h 160"/>
                <a:gd name="T44" fmla="*/ 94 w 94"/>
                <a:gd name="T45" fmla="*/ 133 h 160"/>
                <a:gd name="T46" fmla="*/ 91 w 94"/>
                <a:gd name="T47" fmla="*/ 129 h 160"/>
                <a:gd name="T48" fmla="*/ 88 w 94"/>
                <a:gd name="T49" fmla="*/ 133 h 160"/>
                <a:gd name="T50" fmla="*/ 80 w 94"/>
                <a:gd name="T51" fmla="*/ 146 h 160"/>
                <a:gd name="T52" fmla="*/ 61 w 94"/>
                <a:gd name="T53" fmla="*/ 149 h 160"/>
                <a:gd name="T54" fmla="*/ 38 w 94"/>
                <a:gd name="T55" fmla="*/ 133 h 160"/>
                <a:gd name="T56" fmla="*/ 38 w 94"/>
                <a:gd name="T57" fmla="*/ 107 h 160"/>
                <a:gd name="T58" fmla="*/ 38 w 94"/>
                <a:gd name="T59" fmla="*/ 98 h 160"/>
                <a:gd name="T60" fmla="*/ 38 w 94"/>
                <a:gd name="T61" fmla="*/ 80 h 160"/>
                <a:gd name="T62" fmla="*/ 67 w 94"/>
                <a:gd name="T63" fmla="*/ 82 h 160"/>
                <a:gd name="T64" fmla="*/ 77 w 94"/>
                <a:gd name="T65" fmla="*/ 88 h 160"/>
                <a:gd name="T66" fmla="*/ 77 w 94"/>
                <a:gd name="T67" fmla="*/ 94 h 160"/>
                <a:gd name="T68" fmla="*/ 80 w 94"/>
                <a:gd name="T69" fmla="*/ 97 h 160"/>
                <a:gd name="T70" fmla="*/ 83 w 94"/>
                <a:gd name="T71" fmla="*/ 92 h 160"/>
                <a:gd name="T72" fmla="*/ 84 w 94"/>
                <a:gd name="T73" fmla="*/ 79 h 160"/>
                <a:gd name="T74" fmla="*/ 86 w 94"/>
                <a:gd name="T75" fmla="*/ 67 h 160"/>
                <a:gd name="T76" fmla="*/ 83 w 94"/>
                <a:gd name="T77" fmla="*/ 64 h 160"/>
                <a:gd name="T78" fmla="*/ 79 w 94"/>
                <a:gd name="T79" fmla="*/ 67 h 160"/>
                <a:gd name="T80" fmla="*/ 70 w 94"/>
                <a:gd name="T81" fmla="*/ 70 h 160"/>
                <a:gd name="T82" fmla="*/ 38 w 94"/>
                <a:gd name="T83" fmla="*/ 70 h 160"/>
                <a:gd name="T84" fmla="*/ 38 w 94"/>
                <a:gd name="T85" fmla="*/ 13 h 160"/>
                <a:gd name="T86" fmla="*/ 66 w 94"/>
                <a:gd name="T87" fmla="*/ 13 h 160"/>
                <a:gd name="T88" fmla="*/ 79 w 94"/>
                <a:gd name="T89" fmla="*/ 19 h 160"/>
                <a:gd name="T90" fmla="*/ 80 w 94"/>
                <a:gd name="T91" fmla="*/ 26 h 160"/>
                <a:gd name="T92" fmla="*/ 83 w 94"/>
                <a:gd name="T93" fmla="*/ 30 h 160"/>
                <a:gd name="T94" fmla="*/ 86 w 94"/>
                <a:gd name="T95" fmla="*/ 27 h 160"/>
                <a:gd name="T96" fmla="*/ 87 w 94"/>
                <a:gd name="T97" fmla="*/ 17 h 160"/>
                <a:gd name="T98" fmla="*/ 87 w 94"/>
                <a:gd name="T99" fmla="*/ 13 h 160"/>
                <a:gd name="T100" fmla="*/ 89 w 94"/>
                <a:gd name="T101" fmla="*/ 3 h 160"/>
                <a:gd name="T102" fmla="*/ 87 w 94"/>
                <a:gd name="T103" fmla="*/ 0 h 160"/>
                <a:gd name="T104" fmla="*/ 84 w 94"/>
                <a:gd name="T105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60">
                  <a:moveTo>
                    <a:pt x="84" y="1"/>
                  </a:moveTo>
                  <a:cubicBezTo>
                    <a:pt x="83" y="1"/>
                    <a:pt x="83" y="1"/>
                    <a:pt x="83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28" y="2"/>
                    <a:pt x="28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0" y="2"/>
                    <a:pt x="0" y="5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6" y="9"/>
                    <a:pt x="17" y="12"/>
                    <a:pt x="18" y="18"/>
                  </a:cubicBezTo>
                  <a:cubicBezTo>
                    <a:pt x="18" y="18"/>
                    <a:pt x="18" y="62"/>
                    <a:pt x="18" y="62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118"/>
                    <a:pt x="18" y="134"/>
                    <a:pt x="17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7" y="153"/>
                    <a:pt x="7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7" y="159"/>
                    <a:pt x="8" y="159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6" y="159"/>
                    <a:pt x="36" y="159"/>
                    <a:pt x="36" y="159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87" y="160"/>
                    <a:pt x="90" y="160"/>
                    <a:pt x="91" y="153"/>
                  </a:cubicBezTo>
                  <a:cubicBezTo>
                    <a:pt x="92" y="149"/>
                    <a:pt x="94" y="135"/>
                    <a:pt x="94" y="133"/>
                  </a:cubicBezTo>
                  <a:cubicBezTo>
                    <a:pt x="94" y="132"/>
                    <a:pt x="94" y="129"/>
                    <a:pt x="91" y="129"/>
                  </a:cubicBezTo>
                  <a:cubicBezTo>
                    <a:pt x="89" y="129"/>
                    <a:pt x="88" y="131"/>
                    <a:pt x="88" y="133"/>
                  </a:cubicBezTo>
                  <a:cubicBezTo>
                    <a:pt x="86" y="141"/>
                    <a:pt x="84" y="144"/>
                    <a:pt x="80" y="146"/>
                  </a:cubicBezTo>
                  <a:cubicBezTo>
                    <a:pt x="75" y="149"/>
                    <a:pt x="66" y="149"/>
                    <a:pt x="61" y="149"/>
                  </a:cubicBezTo>
                  <a:cubicBezTo>
                    <a:pt x="41" y="149"/>
                    <a:pt x="39" y="146"/>
                    <a:pt x="38" y="133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1"/>
                    <a:pt x="67" y="82"/>
                    <a:pt x="67" y="82"/>
                  </a:cubicBezTo>
                  <a:cubicBezTo>
                    <a:pt x="75" y="82"/>
                    <a:pt x="76" y="86"/>
                    <a:pt x="77" y="88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9" y="97"/>
                    <a:pt x="80" y="97"/>
                  </a:cubicBezTo>
                  <a:cubicBezTo>
                    <a:pt x="83" y="97"/>
                    <a:pt x="83" y="94"/>
                    <a:pt x="83" y="92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9"/>
                    <a:pt x="86" y="67"/>
                    <a:pt x="86" y="67"/>
                  </a:cubicBezTo>
                  <a:cubicBezTo>
                    <a:pt x="86" y="64"/>
                    <a:pt x="84" y="64"/>
                    <a:pt x="83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9"/>
                    <a:pt x="75" y="69"/>
                    <a:pt x="70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66" y="13"/>
                    <a:pt x="66" y="13"/>
                  </a:cubicBezTo>
                  <a:cubicBezTo>
                    <a:pt x="77" y="15"/>
                    <a:pt x="78" y="17"/>
                    <a:pt x="79" y="19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30"/>
                    <a:pt x="82" y="30"/>
                    <a:pt x="83" y="30"/>
                  </a:cubicBezTo>
                  <a:cubicBezTo>
                    <a:pt x="84" y="30"/>
                    <a:pt x="86" y="30"/>
                    <a:pt x="86" y="27"/>
                  </a:cubicBezTo>
                  <a:cubicBezTo>
                    <a:pt x="86" y="27"/>
                    <a:pt x="87" y="17"/>
                    <a:pt x="87" y="17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0"/>
                    <a:pt x="87" y="0"/>
                    <a:pt x="87" y="0"/>
                  </a:cubicBezTo>
                  <a:lnTo>
                    <a:pt x="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5" name="Freeform 14">
              <a:extLst>
                <a:ext uri="{FF2B5EF4-FFF2-40B4-BE49-F238E27FC236}">
                  <a16:creationId xmlns:a16="http://schemas.microsoft.com/office/drawing/2014/main" id="{08F7322A-262A-413D-ACF3-AB5F1376FA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30" y="2465"/>
              <a:ext cx="107" cy="107"/>
            </a:xfrm>
            <a:custGeom>
              <a:avLst/>
              <a:gdLst>
                <a:gd name="T0" fmla="*/ 35 w 157"/>
                <a:gd name="T1" fmla="*/ 0 h 157"/>
                <a:gd name="T2" fmla="*/ 28 w 157"/>
                <a:gd name="T3" fmla="*/ 0 h 157"/>
                <a:gd name="T4" fmla="*/ 25 w 157"/>
                <a:gd name="T5" fmla="*/ 0 h 157"/>
                <a:gd name="T6" fmla="*/ 5 w 157"/>
                <a:gd name="T7" fmla="*/ 0 h 157"/>
                <a:gd name="T8" fmla="*/ 0 w 157"/>
                <a:gd name="T9" fmla="*/ 3 h 157"/>
                <a:gd name="T10" fmla="*/ 3 w 157"/>
                <a:gd name="T11" fmla="*/ 6 h 157"/>
                <a:gd name="T12" fmla="*/ 10 w 157"/>
                <a:gd name="T13" fmla="*/ 6 h 157"/>
                <a:gd name="T14" fmla="*/ 17 w 157"/>
                <a:gd name="T15" fmla="*/ 16 h 157"/>
                <a:gd name="T16" fmla="*/ 18 w 157"/>
                <a:gd name="T17" fmla="*/ 60 h 157"/>
                <a:gd name="T18" fmla="*/ 18 w 157"/>
                <a:gd name="T19" fmla="*/ 96 h 157"/>
                <a:gd name="T20" fmla="*/ 17 w 157"/>
                <a:gd name="T21" fmla="*/ 141 h 157"/>
                <a:gd name="T22" fmla="*/ 12 w 157"/>
                <a:gd name="T23" fmla="*/ 150 h 157"/>
                <a:gd name="T24" fmla="*/ 6 w 157"/>
                <a:gd name="T25" fmla="*/ 151 h 157"/>
                <a:gd name="T26" fmla="*/ 3 w 157"/>
                <a:gd name="T27" fmla="*/ 154 h 157"/>
                <a:gd name="T28" fmla="*/ 8 w 157"/>
                <a:gd name="T29" fmla="*/ 157 h 157"/>
                <a:gd name="T30" fmla="*/ 26 w 157"/>
                <a:gd name="T31" fmla="*/ 157 h 157"/>
                <a:gd name="T32" fmla="*/ 29 w 157"/>
                <a:gd name="T33" fmla="*/ 157 h 157"/>
                <a:gd name="T34" fmla="*/ 52 w 157"/>
                <a:gd name="T35" fmla="*/ 157 h 157"/>
                <a:gd name="T36" fmla="*/ 57 w 157"/>
                <a:gd name="T37" fmla="*/ 154 h 157"/>
                <a:gd name="T38" fmla="*/ 54 w 157"/>
                <a:gd name="T39" fmla="*/ 151 h 157"/>
                <a:gd name="T40" fmla="*/ 45 w 157"/>
                <a:gd name="T41" fmla="*/ 150 h 157"/>
                <a:gd name="T42" fmla="*/ 38 w 157"/>
                <a:gd name="T43" fmla="*/ 141 h 157"/>
                <a:gd name="T44" fmla="*/ 37 w 157"/>
                <a:gd name="T45" fmla="*/ 96 h 157"/>
                <a:gd name="T46" fmla="*/ 37 w 157"/>
                <a:gd name="T47" fmla="*/ 92 h 157"/>
                <a:gd name="T48" fmla="*/ 62 w 157"/>
                <a:gd name="T49" fmla="*/ 92 h 157"/>
                <a:gd name="T50" fmla="*/ 64 w 157"/>
                <a:gd name="T51" fmla="*/ 93 h 157"/>
                <a:gd name="T52" fmla="*/ 71 w 157"/>
                <a:gd name="T53" fmla="*/ 102 h 157"/>
                <a:gd name="T54" fmla="*/ 86 w 157"/>
                <a:gd name="T55" fmla="*/ 123 h 157"/>
                <a:gd name="T56" fmla="*/ 89 w 157"/>
                <a:gd name="T57" fmla="*/ 126 h 157"/>
                <a:gd name="T58" fmla="*/ 114 w 157"/>
                <a:gd name="T59" fmla="*/ 153 h 157"/>
                <a:gd name="T60" fmla="*/ 136 w 157"/>
                <a:gd name="T61" fmla="*/ 157 h 157"/>
                <a:gd name="T62" fmla="*/ 151 w 157"/>
                <a:gd name="T63" fmla="*/ 157 h 157"/>
                <a:gd name="T64" fmla="*/ 157 w 157"/>
                <a:gd name="T65" fmla="*/ 154 h 157"/>
                <a:gd name="T66" fmla="*/ 154 w 157"/>
                <a:gd name="T67" fmla="*/ 151 h 157"/>
                <a:gd name="T68" fmla="*/ 146 w 157"/>
                <a:gd name="T69" fmla="*/ 151 h 157"/>
                <a:gd name="T70" fmla="*/ 122 w 157"/>
                <a:gd name="T71" fmla="*/ 136 h 157"/>
                <a:gd name="T72" fmla="*/ 85 w 157"/>
                <a:gd name="T73" fmla="*/ 90 h 157"/>
                <a:gd name="T74" fmla="*/ 81 w 157"/>
                <a:gd name="T75" fmla="*/ 85 h 157"/>
                <a:gd name="T76" fmla="*/ 105 w 157"/>
                <a:gd name="T77" fmla="*/ 38 h 157"/>
                <a:gd name="T78" fmla="*/ 90 w 157"/>
                <a:gd name="T79" fmla="*/ 9 h 157"/>
                <a:gd name="T80" fmla="*/ 52 w 157"/>
                <a:gd name="T81" fmla="*/ 0 h 157"/>
                <a:gd name="T82" fmla="*/ 35 w 157"/>
                <a:gd name="T83" fmla="*/ 0 h 157"/>
                <a:gd name="T84" fmla="*/ 38 w 157"/>
                <a:gd name="T85" fmla="*/ 79 h 157"/>
                <a:gd name="T86" fmla="*/ 37 w 157"/>
                <a:gd name="T87" fmla="*/ 78 h 157"/>
                <a:gd name="T88" fmla="*/ 37 w 157"/>
                <a:gd name="T89" fmla="*/ 11 h 157"/>
                <a:gd name="T90" fmla="*/ 38 w 157"/>
                <a:gd name="T91" fmla="*/ 10 h 157"/>
                <a:gd name="T92" fmla="*/ 51 w 157"/>
                <a:gd name="T93" fmla="*/ 9 h 157"/>
                <a:gd name="T94" fmla="*/ 85 w 157"/>
                <a:gd name="T95" fmla="*/ 49 h 157"/>
                <a:gd name="T96" fmla="*/ 73 w 157"/>
                <a:gd name="T97" fmla="*/ 79 h 157"/>
                <a:gd name="T98" fmla="*/ 58 w 157"/>
                <a:gd name="T99" fmla="*/ 82 h 157"/>
                <a:gd name="T100" fmla="*/ 38 w 157"/>
                <a:gd name="T101" fmla="*/ 7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7">
                  <a:moveTo>
                    <a:pt x="3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5" y="7"/>
                    <a:pt x="17" y="10"/>
                    <a:pt x="17" y="16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116"/>
                    <a:pt x="18" y="132"/>
                    <a:pt x="17" y="141"/>
                  </a:cubicBezTo>
                  <a:cubicBezTo>
                    <a:pt x="16" y="146"/>
                    <a:pt x="15" y="150"/>
                    <a:pt x="12" y="150"/>
                  </a:cubicBezTo>
                  <a:cubicBezTo>
                    <a:pt x="12" y="150"/>
                    <a:pt x="6" y="151"/>
                    <a:pt x="6" y="151"/>
                  </a:cubicBezTo>
                  <a:cubicBezTo>
                    <a:pt x="4" y="151"/>
                    <a:pt x="3" y="153"/>
                    <a:pt x="3" y="154"/>
                  </a:cubicBezTo>
                  <a:cubicBezTo>
                    <a:pt x="3" y="157"/>
                    <a:pt x="7" y="157"/>
                    <a:pt x="8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7" y="157"/>
                    <a:pt x="29" y="157"/>
                    <a:pt x="29" y="157"/>
                  </a:cubicBezTo>
                  <a:cubicBezTo>
                    <a:pt x="52" y="157"/>
                    <a:pt x="52" y="157"/>
                    <a:pt x="52" y="157"/>
                  </a:cubicBezTo>
                  <a:cubicBezTo>
                    <a:pt x="56" y="157"/>
                    <a:pt x="57" y="155"/>
                    <a:pt x="57" y="154"/>
                  </a:cubicBezTo>
                  <a:cubicBezTo>
                    <a:pt x="57" y="153"/>
                    <a:pt x="56" y="151"/>
                    <a:pt x="54" y="151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0" y="150"/>
                    <a:pt x="39" y="147"/>
                    <a:pt x="38" y="141"/>
                  </a:cubicBezTo>
                  <a:cubicBezTo>
                    <a:pt x="37" y="132"/>
                    <a:pt x="37" y="116"/>
                    <a:pt x="37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1"/>
                    <a:pt x="62" y="92"/>
                    <a:pt x="62" y="9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71" y="102"/>
                    <a:pt x="71" y="10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99" y="140"/>
                    <a:pt x="106" y="149"/>
                    <a:pt x="114" y="153"/>
                  </a:cubicBezTo>
                  <a:cubicBezTo>
                    <a:pt x="120" y="156"/>
                    <a:pt x="125" y="157"/>
                    <a:pt x="136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4" y="157"/>
                    <a:pt x="157" y="157"/>
                    <a:pt x="157" y="154"/>
                  </a:cubicBezTo>
                  <a:cubicBezTo>
                    <a:pt x="157" y="152"/>
                    <a:pt x="156" y="151"/>
                    <a:pt x="154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1" y="150"/>
                    <a:pt x="133" y="147"/>
                    <a:pt x="122" y="136"/>
                  </a:cubicBezTo>
                  <a:cubicBezTo>
                    <a:pt x="112" y="125"/>
                    <a:pt x="99" y="109"/>
                    <a:pt x="85" y="90"/>
                  </a:cubicBezTo>
                  <a:cubicBezTo>
                    <a:pt x="85" y="90"/>
                    <a:pt x="82" y="87"/>
                    <a:pt x="81" y="85"/>
                  </a:cubicBezTo>
                  <a:cubicBezTo>
                    <a:pt x="97" y="70"/>
                    <a:pt x="105" y="55"/>
                    <a:pt x="105" y="38"/>
                  </a:cubicBezTo>
                  <a:cubicBezTo>
                    <a:pt x="105" y="23"/>
                    <a:pt x="96" y="13"/>
                    <a:pt x="90" y="9"/>
                  </a:cubicBezTo>
                  <a:cubicBezTo>
                    <a:pt x="79" y="1"/>
                    <a:pt x="64" y="0"/>
                    <a:pt x="52" y="0"/>
                  </a:cubicBezTo>
                  <a:lnTo>
                    <a:pt x="35" y="0"/>
                  </a:lnTo>
                  <a:close/>
                  <a:moveTo>
                    <a:pt x="38" y="79"/>
                  </a:moveTo>
                  <a:cubicBezTo>
                    <a:pt x="37" y="79"/>
                    <a:pt x="37" y="79"/>
                    <a:pt x="37" y="78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8" y="10"/>
                  </a:cubicBezTo>
                  <a:cubicBezTo>
                    <a:pt x="39" y="10"/>
                    <a:pt x="45" y="9"/>
                    <a:pt x="51" y="9"/>
                  </a:cubicBezTo>
                  <a:cubicBezTo>
                    <a:pt x="72" y="9"/>
                    <a:pt x="85" y="24"/>
                    <a:pt x="85" y="49"/>
                  </a:cubicBezTo>
                  <a:cubicBezTo>
                    <a:pt x="85" y="63"/>
                    <a:pt x="80" y="74"/>
                    <a:pt x="73" y="79"/>
                  </a:cubicBezTo>
                  <a:cubicBezTo>
                    <a:pt x="68" y="82"/>
                    <a:pt x="63" y="82"/>
                    <a:pt x="58" y="82"/>
                  </a:cubicBezTo>
                  <a:cubicBezTo>
                    <a:pt x="49" y="82"/>
                    <a:pt x="40" y="81"/>
                    <a:pt x="38" y="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6" name="Freeform 15">
              <a:extLst>
                <a:ext uri="{FF2B5EF4-FFF2-40B4-BE49-F238E27FC236}">
                  <a16:creationId xmlns:a16="http://schemas.microsoft.com/office/drawing/2014/main" id="{AD08E25E-48F3-4541-80BD-06707A0295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0" y="2463"/>
              <a:ext cx="55" cy="111"/>
            </a:xfrm>
            <a:custGeom>
              <a:avLst/>
              <a:gdLst>
                <a:gd name="T0" fmla="*/ 5 w 81"/>
                <a:gd name="T1" fmla="*/ 38 h 163"/>
                <a:gd name="T2" fmla="*/ 32 w 81"/>
                <a:gd name="T3" fmla="*/ 84 h 163"/>
                <a:gd name="T4" fmla="*/ 41 w 81"/>
                <a:gd name="T5" fmla="*/ 91 h 163"/>
                <a:gd name="T6" fmla="*/ 64 w 81"/>
                <a:gd name="T7" fmla="*/ 127 h 163"/>
                <a:gd name="T8" fmla="*/ 36 w 81"/>
                <a:gd name="T9" fmla="*/ 152 h 163"/>
                <a:gd name="T10" fmla="*/ 7 w 81"/>
                <a:gd name="T11" fmla="*/ 133 h 163"/>
                <a:gd name="T12" fmla="*/ 7 w 81"/>
                <a:gd name="T13" fmla="*/ 126 h 163"/>
                <a:gd name="T14" fmla="*/ 4 w 81"/>
                <a:gd name="T15" fmla="*/ 122 h 163"/>
                <a:gd name="T16" fmla="*/ 1 w 81"/>
                <a:gd name="T17" fmla="*/ 126 h 163"/>
                <a:gd name="T18" fmla="*/ 1 w 81"/>
                <a:gd name="T19" fmla="*/ 128 h 163"/>
                <a:gd name="T20" fmla="*/ 0 w 81"/>
                <a:gd name="T21" fmla="*/ 148 h 163"/>
                <a:gd name="T22" fmla="*/ 4 w 81"/>
                <a:gd name="T23" fmla="*/ 157 h 163"/>
                <a:gd name="T24" fmla="*/ 32 w 81"/>
                <a:gd name="T25" fmla="*/ 163 h 163"/>
                <a:gd name="T26" fmla="*/ 63 w 81"/>
                <a:gd name="T27" fmla="*/ 154 h 163"/>
                <a:gd name="T28" fmla="*/ 81 w 81"/>
                <a:gd name="T29" fmla="*/ 119 h 163"/>
                <a:gd name="T30" fmla="*/ 51 w 81"/>
                <a:gd name="T31" fmla="*/ 70 h 163"/>
                <a:gd name="T32" fmla="*/ 45 w 81"/>
                <a:gd name="T33" fmla="*/ 65 h 163"/>
                <a:gd name="T34" fmla="*/ 21 w 81"/>
                <a:gd name="T35" fmla="*/ 32 h 163"/>
                <a:gd name="T36" fmla="*/ 45 w 81"/>
                <a:gd name="T37" fmla="*/ 10 h 163"/>
                <a:gd name="T38" fmla="*/ 69 w 81"/>
                <a:gd name="T39" fmla="*/ 20 h 163"/>
                <a:gd name="T40" fmla="*/ 71 w 81"/>
                <a:gd name="T41" fmla="*/ 30 h 163"/>
                <a:gd name="T42" fmla="*/ 74 w 81"/>
                <a:gd name="T43" fmla="*/ 34 h 163"/>
                <a:gd name="T44" fmla="*/ 77 w 81"/>
                <a:gd name="T45" fmla="*/ 27 h 163"/>
                <a:gd name="T46" fmla="*/ 78 w 81"/>
                <a:gd name="T47" fmla="*/ 7 h 163"/>
                <a:gd name="T48" fmla="*/ 78 w 81"/>
                <a:gd name="T49" fmla="*/ 6 h 163"/>
                <a:gd name="T50" fmla="*/ 75 w 81"/>
                <a:gd name="T51" fmla="*/ 3 h 163"/>
                <a:gd name="T52" fmla="*/ 68 w 81"/>
                <a:gd name="T53" fmla="*/ 2 h 163"/>
                <a:gd name="T54" fmla="*/ 48 w 81"/>
                <a:gd name="T55" fmla="*/ 0 h 163"/>
                <a:gd name="T56" fmla="*/ 5 w 81"/>
                <a:gd name="T5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" h="163">
                  <a:moveTo>
                    <a:pt x="5" y="38"/>
                  </a:moveTo>
                  <a:cubicBezTo>
                    <a:pt x="5" y="52"/>
                    <a:pt x="9" y="65"/>
                    <a:pt x="32" y="84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59" y="106"/>
                    <a:pt x="64" y="114"/>
                    <a:pt x="64" y="127"/>
                  </a:cubicBezTo>
                  <a:cubicBezTo>
                    <a:pt x="64" y="140"/>
                    <a:pt x="54" y="152"/>
                    <a:pt x="36" y="152"/>
                  </a:cubicBezTo>
                  <a:cubicBezTo>
                    <a:pt x="29" y="152"/>
                    <a:pt x="11" y="150"/>
                    <a:pt x="7" y="133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4"/>
                    <a:pt x="7" y="122"/>
                    <a:pt x="4" y="122"/>
                  </a:cubicBezTo>
                  <a:cubicBezTo>
                    <a:pt x="1" y="122"/>
                    <a:pt x="1" y="125"/>
                    <a:pt x="1" y="126"/>
                  </a:cubicBezTo>
                  <a:cubicBezTo>
                    <a:pt x="1" y="126"/>
                    <a:pt x="1" y="128"/>
                    <a:pt x="1" y="12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0" y="156"/>
                    <a:pt x="4" y="157"/>
                  </a:cubicBezTo>
                  <a:cubicBezTo>
                    <a:pt x="11" y="161"/>
                    <a:pt x="21" y="163"/>
                    <a:pt x="32" y="163"/>
                  </a:cubicBezTo>
                  <a:cubicBezTo>
                    <a:pt x="44" y="163"/>
                    <a:pt x="55" y="160"/>
                    <a:pt x="63" y="154"/>
                  </a:cubicBezTo>
                  <a:cubicBezTo>
                    <a:pt x="77" y="145"/>
                    <a:pt x="81" y="130"/>
                    <a:pt x="81" y="119"/>
                  </a:cubicBezTo>
                  <a:cubicBezTo>
                    <a:pt x="81" y="103"/>
                    <a:pt x="76" y="90"/>
                    <a:pt x="51" y="70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26" y="49"/>
                    <a:pt x="21" y="43"/>
                    <a:pt x="21" y="32"/>
                  </a:cubicBezTo>
                  <a:cubicBezTo>
                    <a:pt x="21" y="19"/>
                    <a:pt x="30" y="10"/>
                    <a:pt x="45" y="10"/>
                  </a:cubicBezTo>
                  <a:cubicBezTo>
                    <a:pt x="61" y="10"/>
                    <a:pt x="67" y="17"/>
                    <a:pt x="69" y="20"/>
                  </a:cubicBezTo>
                  <a:cubicBezTo>
                    <a:pt x="70" y="22"/>
                    <a:pt x="71" y="27"/>
                    <a:pt x="71" y="30"/>
                  </a:cubicBezTo>
                  <a:cubicBezTo>
                    <a:pt x="71" y="31"/>
                    <a:pt x="72" y="34"/>
                    <a:pt x="74" y="34"/>
                  </a:cubicBezTo>
                  <a:cubicBezTo>
                    <a:pt x="77" y="34"/>
                    <a:pt x="77" y="30"/>
                    <a:pt x="77" y="2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3"/>
                    <a:pt x="75" y="3"/>
                    <a:pt x="75" y="3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2" y="1"/>
                    <a:pt x="56" y="0"/>
                    <a:pt x="48" y="0"/>
                  </a:cubicBezTo>
                  <a:cubicBezTo>
                    <a:pt x="22" y="0"/>
                    <a:pt x="5" y="15"/>
                    <a:pt x="5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7" name="Freeform 16">
              <a:extLst>
                <a:ext uri="{FF2B5EF4-FFF2-40B4-BE49-F238E27FC236}">
                  <a16:creationId xmlns:a16="http://schemas.microsoft.com/office/drawing/2014/main" id="{C2EE1E00-8FA7-4913-9E3A-18338B8A05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7" y="2465"/>
              <a:ext cx="37" cy="107"/>
            </a:xfrm>
            <a:custGeom>
              <a:avLst/>
              <a:gdLst>
                <a:gd name="T0" fmla="*/ 29 w 55"/>
                <a:gd name="T1" fmla="*/ 0 h 157"/>
                <a:gd name="T2" fmla="*/ 25 w 55"/>
                <a:gd name="T3" fmla="*/ 0 h 157"/>
                <a:gd name="T4" fmla="*/ 22 w 55"/>
                <a:gd name="T5" fmla="*/ 0 h 157"/>
                <a:gd name="T6" fmla="*/ 5 w 55"/>
                <a:gd name="T7" fmla="*/ 0 h 157"/>
                <a:gd name="T8" fmla="*/ 0 w 55"/>
                <a:gd name="T9" fmla="*/ 3 h 157"/>
                <a:gd name="T10" fmla="*/ 3 w 55"/>
                <a:gd name="T11" fmla="*/ 6 h 157"/>
                <a:gd name="T12" fmla="*/ 9 w 55"/>
                <a:gd name="T13" fmla="*/ 6 h 157"/>
                <a:gd name="T14" fmla="*/ 15 w 55"/>
                <a:gd name="T15" fmla="*/ 16 h 157"/>
                <a:gd name="T16" fmla="*/ 15 w 55"/>
                <a:gd name="T17" fmla="*/ 60 h 157"/>
                <a:gd name="T18" fmla="*/ 15 w 55"/>
                <a:gd name="T19" fmla="*/ 96 h 157"/>
                <a:gd name="T20" fmla="*/ 14 w 55"/>
                <a:gd name="T21" fmla="*/ 141 h 157"/>
                <a:gd name="T22" fmla="*/ 9 w 55"/>
                <a:gd name="T23" fmla="*/ 150 h 157"/>
                <a:gd name="T24" fmla="*/ 4 w 55"/>
                <a:gd name="T25" fmla="*/ 151 h 157"/>
                <a:gd name="T26" fmla="*/ 0 w 55"/>
                <a:gd name="T27" fmla="*/ 154 h 157"/>
                <a:gd name="T28" fmla="*/ 5 w 55"/>
                <a:gd name="T29" fmla="*/ 157 h 157"/>
                <a:gd name="T30" fmla="*/ 22 w 55"/>
                <a:gd name="T31" fmla="*/ 157 h 157"/>
                <a:gd name="T32" fmla="*/ 25 w 55"/>
                <a:gd name="T33" fmla="*/ 157 h 157"/>
                <a:gd name="T34" fmla="*/ 28 w 55"/>
                <a:gd name="T35" fmla="*/ 157 h 157"/>
                <a:gd name="T36" fmla="*/ 50 w 55"/>
                <a:gd name="T37" fmla="*/ 157 h 157"/>
                <a:gd name="T38" fmla="*/ 55 w 55"/>
                <a:gd name="T39" fmla="*/ 154 h 157"/>
                <a:gd name="T40" fmla="*/ 52 w 55"/>
                <a:gd name="T41" fmla="*/ 151 h 157"/>
                <a:gd name="T42" fmla="*/ 43 w 55"/>
                <a:gd name="T43" fmla="*/ 150 h 157"/>
                <a:gd name="T44" fmla="*/ 36 w 55"/>
                <a:gd name="T45" fmla="*/ 141 h 157"/>
                <a:gd name="T46" fmla="*/ 35 w 55"/>
                <a:gd name="T47" fmla="*/ 96 h 157"/>
                <a:gd name="T48" fmla="*/ 35 w 55"/>
                <a:gd name="T49" fmla="*/ 60 h 157"/>
                <a:gd name="T50" fmla="*/ 36 w 55"/>
                <a:gd name="T51" fmla="*/ 16 h 157"/>
                <a:gd name="T52" fmla="*/ 42 w 55"/>
                <a:gd name="T53" fmla="*/ 6 h 157"/>
                <a:gd name="T54" fmla="*/ 47 w 55"/>
                <a:gd name="T55" fmla="*/ 6 h 157"/>
                <a:gd name="T56" fmla="*/ 50 w 55"/>
                <a:gd name="T57" fmla="*/ 3 h 157"/>
                <a:gd name="T58" fmla="*/ 45 w 55"/>
                <a:gd name="T59" fmla="*/ 0 h 157"/>
                <a:gd name="T60" fmla="*/ 29 w 55"/>
                <a:gd name="T6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5" h="157">
                  <a:moveTo>
                    <a:pt x="2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2" y="7"/>
                    <a:pt x="14" y="9"/>
                    <a:pt x="15" y="16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116"/>
                    <a:pt x="15" y="132"/>
                    <a:pt x="14" y="141"/>
                  </a:cubicBezTo>
                  <a:cubicBezTo>
                    <a:pt x="13" y="147"/>
                    <a:pt x="12" y="150"/>
                    <a:pt x="9" y="150"/>
                  </a:cubicBezTo>
                  <a:cubicBezTo>
                    <a:pt x="9" y="150"/>
                    <a:pt x="4" y="151"/>
                    <a:pt x="4" y="151"/>
                  </a:cubicBezTo>
                  <a:cubicBezTo>
                    <a:pt x="1" y="151"/>
                    <a:pt x="0" y="153"/>
                    <a:pt x="0" y="154"/>
                  </a:cubicBezTo>
                  <a:cubicBezTo>
                    <a:pt x="0" y="157"/>
                    <a:pt x="4" y="157"/>
                    <a:pt x="5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50" y="157"/>
                    <a:pt x="50" y="157"/>
                    <a:pt x="50" y="157"/>
                  </a:cubicBezTo>
                  <a:cubicBezTo>
                    <a:pt x="55" y="157"/>
                    <a:pt x="55" y="155"/>
                    <a:pt x="55" y="154"/>
                  </a:cubicBezTo>
                  <a:cubicBezTo>
                    <a:pt x="55" y="153"/>
                    <a:pt x="54" y="151"/>
                    <a:pt x="52" y="151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38" y="150"/>
                    <a:pt x="37" y="147"/>
                    <a:pt x="36" y="141"/>
                  </a:cubicBezTo>
                  <a:cubicBezTo>
                    <a:pt x="35" y="132"/>
                    <a:pt x="35" y="116"/>
                    <a:pt x="35" y="96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0"/>
                    <a:pt x="38" y="7"/>
                    <a:pt x="42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0" y="4"/>
                    <a:pt x="50" y="3"/>
                  </a:cubicBezTo>
                  <a:cubicBezTo>
                    <a:pt x="50" y="0"/>
                    <a:pt x="46" y="0"/>
                    <a:pt x="45" y="0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8" name="Freeform 17">
              <a:extLst>
                <a:ext uri="{FF2B5EF4-FFF2-40B4-BE49-F238E27FC236}">
                  <a16:creationId xmlns:a16="http://schemas.microsoft.com/office/drawing/2014/main" id="{9FC00192-45BF-4FE5-B7BF-D13BB16E7B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" y="2463"/>
              <a:ext cx="89" cy="109"/>
            </a:xfrm>
            <a:custGeom>
              <a:avLst/>
              <a:gdLst>
                <a:gd name="T0" fmla="*/ 4 w 132"/>
                <a:gd name="T1" fmla="*/ 5 h 160"/>
                <a:gd name="T2" fmla="*/ 0 w 132"/>
                <a:gd name="T3" fmla="*/ 27 h 160"/>
                <a:gd name="T4" fmla="*/ 2 w 132"/>
                <a:gd name="T5" fmla="*/ 30 h 160"/>
                <a:gd name="T6" fmla="*/ 6 w 132"/>
                <a:gd name="T7" fmla="*/ 27 h 160"/>
                <a:gd name="T8" fmla="*/ 9 w 132"/>
                <a:gd name="T9" fmla="*/ 21 h 160"/>
                <a:gd name="T10" fmla="*/ 29 w 132"/>
                <a:gd name="T11" fmla="*/ 15 h 160"/>
                <a:gd name="T12" fmla="*/ 57 w 132"/>
                <a:gd name="T13" fmla="*/ 15 h 160"/>
                <a:gd name="T14" fmla="*/ 57 w 132"/>
                <a:gd name="T15" fmla="*/ 99 h 160"/>
                <a:gd name="T16" fmla="*/ 56 w 132"/>
                <a:gd name="T17" fmla="*/ 144 h 160"/>
                <a:gd name="T18" fmla="*/ 52 w 132"/>
                <a:gd name="T19" fmla="*/ 153 h 160"/>
                <a:gd name="T20" fmla="*/ 46 w 132"/>
                <a:gd name="T21" fmla="*/ 154 h 160"/>
                <a:gd name="T22" fmla="*/ 43 w 132"/>
                <a:gd name="T23" fmla="*/ 157 h 160"/>
                <a:gd name="T24" fmla="*/ 47 w 132"/>
                <a:gd name="T25" fmla="*/ 160 h 160"/>
                <a:gd name="T26" fmla="*/ 64 w 132"/>
                <a:gd name="T27" fmla="*/ 160 h 160"/>
                <a:gd name="T28" fmla="*/ 67 w 132"/>
                <a:gd name="T29" fmla="*/ 160 h 160"/>
                <a:gd name="T30" fmla="*/ 70 w 132"/>
                <a:gd name="T31" fmla="*/ 160 h 160"/>
                <a:gd name="T32" fmla="*/ 93 w 132"/>
                <a:gd name="T33" fmla="*/ 160 h 160"/>
                <a:gd name="T34" fmla="*/ 97 w 132"/>
                <a:gd name="T35" fmla="*/ 157 h 160"/>
                <a:gd name="T36" fmla="*/ 94 w 132"/>
                <a:gd name="T37" fmla="*/ 154 h 160"/>
                <a:gd name="T38" fmla="*/ 85 w 132"/>
                <a:gd name="T39" fmla="*/ 153 h 160"/>
                <a:gd name="T40" fmla="*/ 79 w 132"/>
                <a:gd name="T41" fmla="*/ 144 h 160"/>
                <a:gd name="T42" fmla="*/ 78 w 132"/>
                <a:gd name="T43" fmla="*/ 99 h 160"/>
                <a:gd name="T44" fmla="*/ 78 w 132"/>
                <a:gd name="T45" fmla="*/ 15 h 160"/>
                <a:gd name="T46" fmla="*/ 102 w 132"/>
                <a:gd name="T47" fmla="*/ 15 h 160"/>
                <a:gd name="T48" fmla="*/ 125 w 132"/>
                <a:gd name="T49" fmla="*/ 25 h 160"/>
                <a:gd name="T50" fmla="*/ 126 w 132"/>
                <a:gd name="T51" fmla="*/ 27 h 160"/>
                <a:gd name="T52" fmla="*/ 129 w 132"/>
                <a:gd name="T53" fmla="*/ 32 h 160"/>
                <a:gd name="T54" fmla="*/ 132 w 132"/>
                <a:gd name="T55" fmla="*/ 28 h 160"/>
                <a:gd name="T56" fmla="*/ 132 w 132"/>
                <a:gd name="T57" fmla="*/ 21 h 160"/>
                <a:gd name="T58" fmla="*/ 132 w 132"/>
                <a:gd name="T59" fmla="*/ 5 h 160"/>
                <a:gd name="T60" fmla="*/ 130 w 132"/>
                <a:gd name="T61" fmla="*/ 1 h 160"/>
                <a:gd name="T62" fmla="*/ 127 w 132"/>
                <a:gd name="T63" fmla="*/ 2 h 160"/>
                <a:gd name="T64" fmla="*/ 110 w 132"/>
                <a:gd name="T65" fmla="*/ 3 h 160"/>
                <a:gd name="T66" fmla="*/ 33 w 132"/>
                <a:gd name="T67" fmla="*/ 3 h 160"/>
                <a:gd name="T68" fmla="*/ 17 w 132"/>
                <a:gd name="T69" fmla="*/ 2 h 160"/>
                <a:gd name="T70" fmla="*/ 10 w 132"/>
                <a:gd name="T71" fmla="*/ 1 h 160"/>
                <a:gd name="T72" fmla="*/ 8 w 132"/>
                <a:gd name="T73" fmla="*/ 0 h 160"/>
                <a:gd name="T74" fmla="*/ 4 w 132"/>
                <a:gd name="T75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160">
                  <a:moveTo>
                    <a:pt x="4" y="5"/>
                  </a:moveTo>
                  <a:cubicBezTo>
                    <a:pt x="4" y="5"/>
                    <a:pt x="0" y="24"/>
                    <a:pt x="0" y="27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8"/>
                    <a:pt x="6" y="27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2" y="16"/>
                    <a:pt x="16" y="15"/>
                    <a:pt x="29" y="15"/>
                  </a:cubicBezTo>
                  <a:cubicBezTo>
                    <a:pt x="29" y="15"/>
                    <a:pt x="51" y="15"/>
                    <a:pt x="57" y="15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7" y="119"/>
                    <a:pt x="57" y="135"/>
                    <a:pt x="56" y="144"/>
                  </a:cubicBezTo>
                  <a:cubicBezTo>
                    <a:pt x="56" y="150"/>
                    <a:pt x="55" y="153"/>
                    <a:pt x="52" y="153"/>
                  </a:cubicBezTo>
                  <a:cubicBezTo>
                    <a:pt x="52" y="153"/>
                    <a:pt x="46" y="154"/>
                    <a:pt x="46" y="154"/>
                  </a:cubicBezTo>
                  <a:cubicBezTo>
                    <a:pt x="44" y="154"/>
                    <a:pt x="43" y="156"/>
                    <a:pt x="43" y="157"/>
                  </a:cubicBezTo>
                  <a:cubicBezTo>
                    <a:pt x="43" y="160"/>
                    <a:pt x="46" y="160"/>
                    <a:pt x="47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7" y="160"/>
                    <a:pt x="97" y="158"/>
                    <a:pt x="97" y="157"/>
                  </a:cubicBezTo>
                  <a:cubicBezTo>
                    <a:pt x="97" y="156"/>
                    <a:pt x="96" y="154"/>
                    <a:pt x="94" y="154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0" y="153"/>
                    <a:pt x="79" y="150"/>
                    <a:pt x="79" y="144"/>
                  </a:cubicBezTo>
                  <a:cubicBezTo>
                    <a:pt x="78" y="135"/>
                    <a:pt x="78" y="119"/>
                    <a:pt x="78" y="99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5"/>
                    <a:pt x="102" y="15"/>
                    <a:pt x="102" y="15"/>
                  </a:cubicBezTo>
                  <a:cubicBezTo>
                    <a:pt x="121" y="15"/>
                    <a:pt x="125" y="20"/>
                    <a:pt x="125" y="25"/>
                  </a:cubicBezTo>
                  <a:cubicBezTo>
                    <a:pt x="125" y="25"/>
                    <a:pt x="126" y="27"/>
                    <a:pt x="126" y="27"/>
                  </a:cubicBezTo>
                  <a:cubicBezTo>
                    <a:pt x="126" y="29"/>
                    <a:pt x="126" y="32"/>
                    <a:pt x="129" y="32"/>
                  </a:cubicBezTo>
                  <a:cubicBezTo>
                    <a:pt x="129" y="32"/>
                    <a:pt x="132" y="32"/>
                    <a:pt x="132" y="28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4"/>
                    <a:pt x="132" y="1"/>
                    <a:pt x="130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4" y="2"/>
                    <a:pt x="119" y="3"/>
                    <a:pt x="110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0" y="1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4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199" name="Freeform 18">
              <a:extLst>
                <a:ext uri="{FF2B5EF4-FFF2-40B4-BE49-F238E27FC236}">
                  <a16:creationId xmlns:a16="http://schemas.microsoft.com/office/drawing/2014/main" id="{38802AEF-AD54-47BF-A522-15165FFA97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58" y="2465"/>
              <a:ext cx="102" cy="107"/>
            </a:xfrm>
            <a:custGeom>
              <a:avLst/>
              <a:gdLst>
                <a:gd name="T0" fmla="*/ 132 w 151"/>
                <a:gd name="T1" fmla="*/ 0 h 157"/>
                <a:gd name="T2" fmla="*/ 127 w 151"/>
                <a:gd name="T3" fmla="*/ 0 h 157"/>
                <a:gd name="T4" fmla="*/ 123 w 151"/>
                <a:gd name="T5" fmla="*/ 0 h 157"/>
                <a:gd name="T6" fmla="*/ 113 w 151"/>
                <a:gd name="T7" fmla="*/ 0 h 157"/>
                <a:gd name="T8" fmla="*/ 108 w 151"/>
                <a:gd name="T9" fmla="*/ 2 h 157"/>
                <a:gd name="T10" fmla="*/ 112 w 151"/>
                <a:gd name="T11" fmla="*/ 6 h 157"/>
                <a:gd name="T12" fmla="*/ 115 w 151"/>
                <a:gd name="T13" fmla="*/ 10 h 157"/>
                <a:gd name="T14" fmla="*/ 111 w 151"/>
                <a:gd name="T15" fmla="*/ 20 h 157"/>
                <a:gd name="T16" fmla="*/ 79 w 151"/>
                <a:gd name="T17" fmla="*/ 77 h 157"/>
                <a:gd name="T18" fmla="*/ 43 w 151"/>
                <a:gd name="T19" fmla="*/ 15 h 157"/>
                <a:gd name="T20" fmla="*/ 40 w 151"/>
                <a:gd name="T21" fmla="*/ 8 h 157"/>
                <a:gd name="T22" fmla="*/ 42 w 151"/>
                <a:gd name="T23" fmla="*/ 6 h 157"/>
                <a:gd name="T24" fmla="*/ 43 w 151"/>
                <a:gd name="T25" fmla="*/ 5 h 157"/>
                <a:gd name="T26" fmla="*/ 46 w 151"/>
                <a:gd name="T27" fmla="*/ 3 h 157"/>
                <a:gd name="T28" fmla="*/ 42 w 151"/>
                <a:gd name="T29" fmla="*/ 0 h 157"/>
                <a:gd name="T30" fmla="*/ 27 w 151"/>
                <a:gd name="T31" fmla="*/ 0 h 157"/>
                <a:gd name="T32" fmla="*/ 24 w 151"/>
                <a:gd name="T33" fmla="*/ 0 h 157"/>
                <a:gd name="T34" fmla="*/ 20 w 151"/>
                <a:gd name="T35" fmla="*/ 0 h 157"/>
                <a:gd name="T36" fmla="*/ 4 w 151"/>
                <a:gd name="T37" fmla="*/ 0 h 157"/>
                <a:gd name="T38" fmla="*/ 0 w 151"/>
                <a:gd name="T39" fmla="*/ 3 h 157"/>
                <a:gd name="T40" fmla="*/ 4 w 151"/>
                <a:gd name="T41" fmla="*/ 6 h 157"/>
                <a:gd name="T42" fmla="*/ 12 w 151"/>
                <a:gd name="T43" fmla="*/ 9 h 157"/>
                <a:gd name="T44" fmla="*/ 25 w 151"/>
                <a:gd name="T45" fmla="*/ 23 h 157"/>
                <a:gd name="T46" fmla="*/ 61 w 151"/>
                <a:gd name="T47" fmla="*/ 82 h 157"/>
                <a:gd name="T48" fmla="*/ 65 w 151"/>
                <a:gd name="T49" fmla="*/ 103 h 157"/>
                <a:gd name="T50" fmla="*/ 65 w 151"/>
                <a:gd name="T51" fmla="*/ 120 h 157"/>
                <a:gd name="T52" fmla="*/ 65 w 151"/>
                <a:gd name="T53" fmla="*/ 141 h 157"/>
                <a:gd name="T54" fmla="*/ 60 w 151"/>
                <a:gd name="T55" fmla="*/ 150 h 157"/>
                <a:gd name="T56" fmla="*/ 54 w 151"/>
                <a:gd name="T57" fmla="*/ 151 h 157"/>
                <a:gd name="T58" fmla="*/ 51 w 151"/>
                <a:gd name="T59" fmla="*/ 154 h 157"/>
                <a:gd name="T60" fmla="*/ 56 w 151"/>
                <a:gd name="T61" fmla="*/ 157 h 157"/>
                <a:gd name="T62" fmla="*/ 72 w 151"/>
                <a:gd name="T63" fmla="*/ 157 h 157"/>
                <a:gd name="T64" fmla="*/ 76 w 151"/>
                <a:gd name="T65" fmla="*/ 157 h 157"/>
                <a:gd name="T66" fmla="*/ 78 w 151"/>
                <a:gd name="T67" fmla="*/ 157 h 157"/>
                <a:gd name="T68" fmla="*/ 101 w 151"/>
                <a:gd name="T69" fmla="*/ 157 h 157"/>
                <a:gd name="T70" fmla="*/ 105 w 151"/>
                <a:gd name="T71" fmla="*/ 154 h 157"/>
                <a:gd name="T72" fmla="*/ 102 w 151"/>
                <a:gd name="T73" fmla="*/ 151 h 157"/>
                <a:gd name="T74" fmla="*/ 93 w 151"/>
                <a:gd name="T75" fmla="*/ 150 h 157"/>
                <a:gd name="T76" fmla="*/ 86 w 151"/>
                <a:gd name="T77" fmla="*/ 141 h 157"/>
                <a:gd name="T78" fmla="*/ 86 w 151"/>
                <a:gd name="T79" fmla="*/ 120 h 157"/>
                <a:gd name="T80" fmla="*/ 86 w 151"/>
                <a:gd name="T81" fmla="*/ 103 h 157"/>
                <a:gd name="T82" fmla="*/ 89 w 151"/>
                <a:gd name="T83" fmla="*/ 83 h 157"/>
                <a:gd name="T84" fmla="*/ 127 w 151"/>
                <a:gd name="T85" fmla="*/ 18 h 157"/>
                <a:gd name="T86" fmla="*/ 138 w 151"/>
                <a:gd name="T87" fmla="*/ 8 h 157"/>
                <a:gd name="T88" fmla="*/ 146 w 151"/>
                <a:gd name="T89" fmla="*/ 6 h 157"/>
                <a:gd name="T90" fmla="*/ 151 w 151"/>
                <a:gd name="T91" fmla="*/ 2 h 157"/>
                <a:gd name="T92" fmla="*/ 146 w 151"/>
                <a:gd name="T93" fmla="*/ 0 h 157"/>
                <a:gd name="T94" fmla="*/ 132 w 151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157">
                  <a:moveTo>
                    <a:pt x="132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0"/>
                    <a:pt x="108" y="1"/>
                    <a:pt x="108" y="2"/>
                  </a:cubicBezTo>
                  <a:cubicBezTo>
                    <a:pt x="108" y="5"/>
                    <a:pt x="110" y="5"/>
                    <a:pt x="112" y="6"/>
                  </a:cubicBezTo>
                  <a:cubicBezTo>
                    <a:pt x="113" y="6"/>
                    <a:pt x="115" y="6"/>
                    <a:pt x="115" y="10"/>
                  </a:cubicBezTo>
                  <a:cubicBezTo>
                    <a:pt x="115" y="13"/>
                    <a:pt x="114" y="16"/>
                    <a:pt x="111" y="20"/>
                  </a:cubicBezTo>
                  <a:cubicBezTo>
                    <a:pt x="108" y="26"/>
                    <a:pt x="85" y="65"/>
                    <a:pt x="79" y="77"/>
                  </a:cubicBezTo>
                  <a:cubicBezTo>
                    <a:pt x="72" y="66"/>
                    <a:pt x="46" y="21"/>
                    <a:pt x="43" y="15"/>
                  </a:cubicBezTo>
                  <a:cubicBezTo>
                    <a:pt x="41" y="12"/>
                    <a:pt x="40" y="10"/>
                    <a:pt x="40" y="8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3" y="5"/>
                  </a:cubicBezTo>
                  <a:cubicBezTo>
                    <a:pt x="44" y="5"/>
                    <a:pt x="46" y="4"/>
                    <a:pt x="46" y="3"/>
                  </a:cubicBezTo>
                  <a:cubicBezTo>
                    <a:pt x="46" y="1"/>
                    <a:pt x="44" y="0"/>
                    <a:pt x="4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6"/>
                    <a:pt x="4" y="6"/>
                  </a:cubicBezTo>
                  <a:cubicBezTo>
                    <a:pt x="5" y="6"/>
                    <a:pt x="9" y="7"/>
                    <a:pt x="12" y="9"/>
                  </a:cubicBezTo>
                  <a:cubicBezTo>
                    <a:pt x="16" y="11"/>
                    <a:pt x="21" y="17"/>
                    <a:pt x="25" y="23"/>
                  </a:cubicBezTo>
                  <a:cubicBezTo>
                    <a:pt x="32" y="34"/>
                    <a:pt x="60" y="79"/>
                    <a:pt x="61" y="82"/>
                  </a:cubicBezTo>
                  <a:cubicBezTo>
                    <a:pt x="64" y="88"/>
                    <a:pt x="65" y="92"/>
                    <a:pt x="65" y="103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5" y="145"/>
                    <a:pt x="63" y="150"/>
                    <a:pt x="60" y="150"/>
                  </a:cubicBezTo>
                  <a:cubicBezTo>
                    <a:pt x="54" y="151"/>
                    <a:pt x="54" y="151"/>
                    <a:pt x="54" y="151"/>
                  </a:cubicBezTo>
                  <a:cubicBezTo>
                    <a:pt x="52" y="151"/>
                    <a:pt x="51" y="153"/>
                    <a:pt x="51" y="154"/>
                  </a:cubicBezTo>
                  <a:cubicBezTo>
                    <a:pt x="51" y="157"/>
                    <a:pt x="54" y="157"/>
                    <a:pt x="56" y="157"/>
                  </a:cubicBezTo>
                  <a:cubicBezTo>
                    <a:pt x="72" y="157"/>
                    <a:pt x="72" y="157"/>
                    <a:pt x="72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5" y="157"/>
                    <a:pt x="105" y="155"/>
                    <a:pt x="105" y="154"/>
                  </a:cubicBezTo>
                  <a:cubicBezTo>
                    <a:pt x="105" y="153"/>
                    <a:pt x="104" y="151"/>
                    <a:pt x="102" y="151"/>
                  </a:cubicBezTo>
                  <a:cubicBezTo>
                    <a:pt x="93" y="150"/>
                    <a:pt x="93" y="150"/>
                    <a:pt x="93" y="150"/>
                  </a:cubicBezTo>
                  <a:cubicBezTo>
                    <a:pt x="89" y="150"/>
                    <a:pt x="87" y="147"/>
                    <a:pt x="86" y="141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6" y="96"/>
                    <a:pt x="86" y="90"/>
                    <a:pt x="89" y="83"/>
                  </a:cubicBezTo>
                  <a:cubicBezTo>
                    <a:pt x="92" y="75"/>
                    <a:pt x="121" y="27"/>
                    <a:pt x="127" y="18"/>
                  </a:cubicBezTo>
                  <a:cubicBezTo>
                    <a:pt x="132" y="13"/>
                    <a:pt x="134" y="10"/>
                    <a:pt x="138" y="8"/>
                  </a:cubicBezTo>
                  <a:cubicBezTo>
                    <a:pt x="141" y="6"/>
                    <a:pt x="144" y="6"/>
                    <a:pt x="146" y="6"/>
                  </a:cubicBezTo>
                  <a:cubicBezTo>
                    <a:pt x="150" y="6"/>
                    <a:pt x="151" y="4"/>
                    <a:pt x="151" y="2"/>
                  </a:cubicBezTo>
                  <a:cubicBezTo>
                    <a:pt x="151" y="1"/>
                    <a:pt x="150" y="0"/>
                    <a:pt x="146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0" name="Freeform 19">
              <a:extLst>
                <a:ext uri="{FF2B5EF4-FFF2-40B4-BE49-F238E27FC236}">
                  <a16:creationId xmlns:a16="http://schemas.microsoft.com/office/drawing/2014/main" id="{AAB043E5-B39C-4633-ACD3-E34C62DC3D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6" y="2463"/>
              <a:ext cx="111" cy="111"/>
            </a:xfrm>
            <a:custGeom>
              <a:avLst/>
              <a:gdLst>
                <a:gd name="T0" fmla="*/ 0 w 164"/>
                <a:gd name="T1" fmla="*/ 81 h 163"/>
                <a:gd name="T2" fmla="*/ 81 w 164"/>
                <a:gd name="T3" fmla="*/ 163 h 163"/>
                <a:gd name="T4" fmla="*/ 164 w 164"/>
                <a:gd name="T5" fmla="*/ 78 h 163"/>
                <a:gd name="T6" fmla="*/ 82 w 164"/>
                <a:gd name="T7" fmla="*/ 0 h 163"/>
                <a:gd name="T8" fmla="*/ 0 w 164"/>
                <a:gd name="T9" fmla="*/ 81 h 163"/>
                <a:gd name="T10" fmla="*/ 23 w 164"/>
                <a:gd name="T11" fmla="*/ 76 h 163"/>
                <a:gd name="T12" fmla="*/ 81 w 164"/>
                <a:gd name="T13" fmla="*/ 10 h 163"/>
                <a:gd name="T14" fmla="*/ 142 w 164"/>
                <a:gd name="T15" fmla="*/ 84 h 163"/>
                <a:gd name="T16" fmla="*/ 87 w 164"/>
                <a:gd name="T17" fmla="*/ 152 h 163"/>
                <a:gd name="T18" fmla="*/ 23 w 164"/>
                <a:gd name="T19" fmla="*/ 7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0" y="81"/>
                  </a:moveTo>
                  <a:cubicBezTo>
                    <a:pt x="0" y="121"/>
                    <a:pt x="26" y="163"/>
                    <a:pt x="81" y="163"/>
                  </a:cubicBezTo>
                  <a:cubicBezTo>
                    <a:pt x="129" y="163"/>
                    <a:pt x="164" y="127"/>
                    <a:pt x="164" y="78"/>
                  </a:cubicBezTo>
                  <a:cubicBezTo>
                    <a:pt x="164" y="31"/>
                    <a:pt x="131" y="0"/>
                    <a:pt x="82" y="0"/>
                  </a:cubicBezTo>
                  <a:cubicBezTo>
                    <a:pt x="23" y="0"/>
                    <a:pt x="0" y="50"/>
                    <a:pt x="0" y="81"/>
                  </a:cubicBezTo>
                  <a:moveTo>
                    <a:pt x="23" y="76"/>
                  </a:moveTo>
                  <a:cubicBezTo>
                    <a:pt x="23" y="35"/>
                    <a:pt x="45" y="10"/>
                    <a:pt x="81" y="10"/>
                  </a:cubicBezTo>
                  <a:cubicBezTo>
                    <a:pt x="110" y="10"/>
                    <a:pt x="142" y="33"/>
                    <a:pt x="142" y="84"/>
                  </a:cubicBezTo>
                  <a:cubicBezTo>
                    <a:pt x="142" y="149"/>
                    <a:pt x="96" y="152"/>
                    <a:pt x="87" y="152"/>
                  </a:cubicBezTo>
                  <a:cubicBezTo>
                    <a:pt x="49" y="152"/>
                    <a:pt x="23" y="121"/>
                    <a:pt x="23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1" name="Freeform 20">
              <a:extLst>
                <a:ext uri="{FF2B5EF4-FFF2-40B4-BE49-F238E27FC236}">
                  <a16:creationId xmlns:a16="http://schemas.microsoft.com/office/drawing/2014/main" id="{3C2761D5-BBA8-4FBE-9573-1D876ED66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2464"/>
              <a:ext cx="62" cy="108"/>
            </a:xfrm>
            <a:custGeom>
              <a:avLst/>
              <a:gdLst>
                <a:gd name="T0" fmla="*/ 87 w 92"/>
                <a:gd name="T1" fmla="*/ 1 h 159"/>
                <a:gd name="T2" fmla="*/ 86 w 92"/>
                <a:gd name="T3" fmla="*/ 1 h 159"/>
                <a:gd name="T4" fmla="*/ 80 w 92"/>
                <a:gd name="T5" fmla="*/ 2 h 159"/>
                <a:gd name="T6" fmla="*/ 78 w 92"/>
                <a:gd name="T7" fmla="*/ 2 h 159"/>
                <a:gd name="T8" fmla="*/ 28 w 92"/>
                <a:gd name="T9" fmla="*/ 2 h 159"/>
                <a:gd name="T10" fmla="*/ 25 w 92"/>
                <a:gd name="T11" fmla="*/ 2 h 159"/>
                <a:gd name="T12" fmla="*/ 4 w 92"/>
                <a:gd name="T13" fmla="*/ 2 h 159"/>
                <a:gd name="T14" fmla="*/ 0 w 92"/>
                <a:gd name="T15" fmla="*/ 5 h 159"/>
                <a:gd name="T16" fmla="*/ 3 w 92"/>
                <a:gd name="T17" fmla="*/ 8 h 159"/>
                <a:gd name="T18" fmla="*/ 9 w 92"/>
                <a:gd name="T19" fmla="*/ 8 h 159"/>
                <a:gd name="T20" fmla="*/ 17 w 92"/>
                <a:gd name="T21" fmla="*/ 18 h 159"/>
                <a:gd name="T22" fmla="*/ 17 w 92"/>
                <a:gd name="T23" fmla="*/ 62 h 159"/>
                <a:gd name="T24" fmla="*/ 17 w 92"/>
                <a:gd name="T25" fmla="*/ 98 h 159"/>
                <a:gd name="T26" fmla="*/ 16 w 92"/>
                <a:gd name="T27" fmla="*/ 143 h 159"/>
                <a:gd name="T28" fmla="*/ 12 w 92"/>
                <a:gd name="T29" fmla="*/ 152 h 159"/>
                <a:gd name="T30" fmla="*/ 6 w 92"/>
                <a:gd name="T31" fmla="*/ 153 h 159"/>
                <a:gd name="T32" fmla="*/ 3 w 92"/>
                <a:gd name="T33" fmla="*/ 156 h 159"/>
                <a:gd name="T34" fmla="*/ 8 w 92"/>
                <a:gd name="T35" fmla="*/ 159 h 159"/>
                <a:gd name="T36" fmla="*/ 24 w 92"/>
                <a:gd name="T37" fmla="*/ 159 h 159"/>
                <a:gd name="T38" fmla="*/ 28 w 92"/>
                <a:gd name="T39" fmla="*/ 159 h 159"/>
                <a:gd name="T40" fmla="*/ 30 w 92"/>
                <a:gd name="T41" fmla="*/ 159 h 159"/>
                <a:gd name="T42" fmla="*/ 53 w 92"/>
                <a:gd name="T43" fmla="*/ 159 h 159"/>
                <a:gd name="T44" fmla="*/ 58 w 92"/>
                <a:gd name="T45" fmla="*/ 156 h 159"/>
                <a:gd name="T46" fmla="*/ 54 w 92"/>
                <a:gd name="T47" fmla="*/ 153 h 159"/>
                <a:gd name="T48" fmla="*/ 45 w 92"/>
                <a:gd name="T49" fmla="*/ 152 h 159"/>
                <a:gd name="T50" fmla="*/ 39 w 92"/>
                <a:gd name="T51" fmla="*/ 143 h 159"/>
                <a:gd name="T52" fmla="*/ 38 w 92"/>
                <a:gd name="T53" fmla="*/ 98 h 159"/>
                <a:gd name="T54" fmla="*/ 38 w 92"/>
                <a:gd name="T55" fmla="*/ 81 h 159"/>
                <a:gd name="T56" fmla="*/ 68 w 92"/>
                <a:gd name="T57" fmla="*/ 81 h 159"/>
                <a:gd name="T58" fmla="*/ 78 w 92"/>
                <a:gd name="T59" fmla="*/ 88 h 159"/>
                <a:gd name="T60" fmla="*/ 79 w 92"/>
                <a:gd name="T61" fmla="*/ 94 h 159"/>
                <a:gd name="T62" fmla="*/ 79 w 92"/>
                <a:gd name="T63" fmla="*/ 95 h 159"/>
                <a:gd name="T64" fmla="*/ 82 w 92"/>
                <a:gd name="T65" fmla="*/ 98 h 159"/>
                <a:gd name="T66" fmla="*/ 85 w 92"/>
                <a:gd name="T67" fmla="*/ 92 h 159"/>
                <a:gd name="T68" fmla="*/ 85 w 92"/>
                <a:gd name="T69" fmla="*/ 79 h 159"/>
                <a:gd name="T70" fmla="*/ 87 w 92"/>
                <a:gd name="T71" fmla="*/ 67 h 159"/>
                <a:gd name="T72" fmla="*/ 85 w 92"/>
                <a:gd name="T73" fmla="*/ 64 h 159"/>
                <a:gd name="T74" fmla="*/ 81 w 92"/>
                <a:gd name="T75" fmla="*/ 66 h 159"/>
                <a:gd name="T76" fmla="*/ 73 w 92"/>
                <a:gd name="T77" fmla="*/ 70 h 159"/>
                <a:gd name="T78" fmla="*/ 64 w 92"/>
                <a:gd name="T79" fmla="*/ 70 h 159"/>
                <a:gd name="T80" fmla="*/ 38 w 92"/>
                <a:gd name="T81" fmla="*/ 70 h 159"/>
                <a:gd name="T82" fmla="*/ 38 w 92"/>
                <a:gd name="T83" fmla="*/ 14 h 159"/>
                <a:gd name="T84" fmla="*/ 69 w 92"/>
                <a:gd name="T85" fmla="*/ 14 h 159"/>
                <a:gd name="T86" fmla="*/ 82 w 92"/>
                <a:gd name="T87" fmla="*/ 19 h 159"/>
                <a:gd name="T88" fmla="*/ 84 w 92"/>
                <a:gd name="T89" fmla="*/ 26 h 159"/>
                <a:gd name="T90" fmla="*/ 87 w 92"/>
                <a:gd name="T91" fmla="*/ 30 h 159"/>
                <a:gd name="T92" fmla="*/ 90 w 92"/>
                <a:gd name="T93" fmla="*/ 27 h 159"/>
                <a:gd name="T94" fmla="*/ 91 w 92"/>
                <a:gd name="T95" fmla="*/ 17 h 159"/>
                <a:gd name="T96" fmla="*/ 91 w 92"/>
                <a:gd name="T97" fmla="*/ 13 h 159"/>
                <a:gd name="T98" fmla="*/ 92 w 92"/>
                <a:gd name="T99" fmla="*/ 6 h 159"/>
                <a:gd name="T100" fmla="*/ 92 w 92"/>
                <a:gd name="T101" fmla="*/ 3 h 159"/>
                <a:gd name="T102" fmla="*/ 90 w 92"/>
                <a:gd name="T103" fmla="*/ 0 h 159"/>
                <a:gd name="T104" fmla="*/ 87 w 92"/>
                <a:gd name="T105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2" h="159">
                  <a:moveTo>
                    <a:pt x="87" y="1"/>
                  </a:moveTo>
                  <a:cubicBezTo>
                    <a:pt x="86" y="1"/>
                    <a:pt x="86" y="1"/>
                    <a:pt x="86" y="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28" y="2"/>
                    <a:pt x="28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5" y="9"/>
                    <a:pt x="17" y="12"/>
                    <a:pt x="17" y="18"/>
                  </a:cubicBezTo>
                  <a:cubicBezTo>
                    <a:pt x="17" y="18"/>
                    <a:pt x="17" y="62"/>
                    <a:pt x="17" y="62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118"/>
                    <a:pt x="17" y="134"/>
                    <a:pt x="16" y="143"/>
                  </a:cubicBezTo>
                  <a:cubicBezTo>
                    <a:pt x="16" y="149"/>
                    <a:pt x="15" y="152"/>
                    <a:pt x="12" y="152"/>
                  </a:cubicBezTo>
                  <a:cubicBezTo>
                    <a:pt x="12" y="152"/>
                    <a:pt x="6" y="153"/>
                    <a:pt x="6" y="153"/>
                  </a:cubicBezTo>
                  <a:cubicBezTo>
                    <a:pt x="4" y="153"/>
                    <a:pt x="3" y="155"/>
                    <a:pt x="3" y="156"/>
                  </a:cubicBezTo>
                  <a:cubicBezTo>
                    <a:pt x="3" y="159"/>
                    <a:pt x="6" y="159"/>
                    <a:pt x="8" y="159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53" y="159"/>
                    <a:pt x="53" y="159"/>
                    <a:pt x="53" y="159"/>
                  </a:cubicBezTo>
                  <a:cubicBezTo>
                    <a:pt x="57" y="159"/>
                    <a:pt x="58" y="157"/>
                    <a:pt x="58" y="156"/>
                  </a:cubicBezTo>
                  <a:cubicBezTo>
                    <a:pt x="58" y="155"/>
                    <a:pt x="57" y="153"/>
                    <a:pt x="54" y="153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1" y="152"/>
                    <a:pt x="39" y="149"/>
                    <a:pt x="39" y="143"/>
                  </a:cubicBezTo>
                  <a:cubicBezTo>
                    <a:pt x="38" y="134"/>
                    <a:pt x="38" y="118"/>
                    <a:pt x="38" y="98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45" y="81"/>
                    <a:pt x="64" y="81"/>
                    <a:pt x="68" y="81"/>
                  </a:cubicBezTo>
                  <a:cubicBezTo>
                    <a:pt x="74" y="82"/>
                    <a:pt x="77" y="85"/>
                    <a:pt x="78" y="88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97"/>
                    <a:pt x="80" y="98"/>
                    <a:pt x="82" y="98"/>
                  </a:cubicBezTo>
                  <a:cubicBezTo>
                    <a:pt x="85" y="98"/>
                    <a:pt x="85" y="94"/>
                    <a:pt x="85" y="92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4"/>
                    <a:pt x="85" y="64"/>
                    <a:pt x="85" y="64"/>
                  </a:cubicBezTo>
                  <a:cubicBezTo>
                    <a:pt x="83" y="64"/>
                    <a:pt x="82" y="65"/>
                    <a:pt x="81" y="66"/>
                  </a:cubicBezTo>
                  <a:cubicBezTo>
                    <a:pt x="80" y="69"/>
                    <a:pt x="78" y="69"/>
                    <a:pt x="73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69" y="14"/>
                    <a:pt x="69" y="14"/>
                  </a:cubicBezTo>
                  <a:cubicBezTo>
                    <a:pt x="77" y="14"/>
                    <a:pt x="81" y="17"/>
                    <a:pt x="82" y="19"/>
                  </a:cubicBezTo>
                  <a:cubicBezTo>
                    <a:pt x="82" y="19"/>
                    <a:pt x="84" y="26"/>
                    <a:pt x="84" y="26"/>
                  </a:cubicBezTo>
                  <a:cubicBezTo>
                    <a:pt x="84" y="30"/>
                    <a:pt x="86" y="30"/>
                    <a:pt x="87" y="30"/>
                  </a:cubicBezTo>
                  <a:cubicBezTo>
                    <a:pt x="88" y="30"/>
                    <a:pt x="89" y="30"/>
                    <a:pt x="90" y="27"/>
                  </a:cubicBezTo>
                  <a:cubicBezTo>
                    <a:pt x="90" y="27"/>
                    <a:pt x="91" y="17"/>
                    <a:pt x="91" y="1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1" y="0"/>
                    <a:pt x="90" y="0"/>
                  </a:cubicBezTo>
                  <a:lnTo>
                    <a:pt x="8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2" name="Rectangle 21">
              <a:extLst>
                <a:ext uri="{FF2B5EF4-FFF2-40B4-BE49-F238E27FC236}">
                  <a16:creationId xmlns:a16="http://schemas.microsoft.com/office/drawing/2014/main" id="{B85633DE-55A9-4E0C-85A2-854292AE25C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08" y="2653"/>
              <a:ext cx="1477" cy="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3" name="Freeform 22">
              <a:extLst>
                <a:ext uri="{FF2B5EF4-FFF2-40B4-BE49-F238E27FC236}">
                  <a16:creationId xmlns:a16="http://schemas.microsoft.com/office/drawing/2014/main" id="{B701F94B-9203-4891-8AA5-6C841105BA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1" y="2736"/>
              <a:ext cx="222" cy="168"/>
            </a:xfrm>
            <a:custGeom>
              <a:avLst/>
              <a:gdLst>
                <a:gd name="T0" fmla="*/ 245 w 327"/>
                <a:gd name="T1" fmla="*/ 8 h 247"/>
                <a:gd name="T2" fmla="*/ 159 w 327"/>
                <a:gd name="T3" fmla="*/ 186 h 247"/>
                <a:gd name="T4" fmla="*/ 74 w 327"/>
                <a:gd name="T5" fmla="*/ 10 h 247"/>
                <a:gd name="T6" fmla="*/ 65 w 327"/>
                <a:gd name="T7" fmla="*/ 0 h 247"/>
                <a:gd name="T8" fmla="*/ 59 w 327"/>
                <a:gd name="T9" fmla="*/ 8 h 247"/>
                <a:gd name="T10" fmla="*/ 27 w 327"/>
                <a:gd name="T11" fmla="*/ 214 h 247"/>
                <a:gd name="T12" fmla="*/ 15 w 327"/>
                <a:gd name="T13" fmla="*/ 238 h 247"/>
                <a:gd name="T14" fmla="*/ 6 w 327"/>
                <a:gd name="T15" fmla="*/ 239 h 247"/>
                <a:gd name="T16" fmla="*/ 0 w 327"/>
                <a:gd name="T17" fmla="*/ 242 h 247"/>
                <a:gd name="T18" fmla="*/ 6 w 327"/>
                <a:gd name="T19" fmla="*/ 247 h 247"/>
                <a:gd name="T20" fmla="*/ 26 w 327"/>
                <a:gd name="T21" fmla="*/ 246 h 247"/>
                <a:gd name="T22" fmla="*/ 38 w 327"/>
                <a:gd name="T23" fmla="*/ 246 h 247"/>
                <a:gd name="T24" fmla="*/ 48 w 327"/>
                <a:gd name="T25" fmla="*/ 246 h 247"/>
                <a:gd name="T26" fmla="*/ 71 w 327"/>
                <a:gd name="T27" fmla="*/ 247 h 247"/>
                <a:gd name="T28" fmla="*/ 79 w 327"/>
                <a:gd name="T29" fmla="*/ 242 h 247"/>
                <a:gd name="T30" fmla="*/ 74 w 327"/>
                <a:gd name="T31" fmla="*/ 239 h 247"/>
                <a:gd name="T32" fmla="*/ 61 w 327"/>
                <a:gd name="T33" fmla="*/ 238 h 247"/>
                <a:gd name="T34" fmla="*/ 52 w 327"/>
                <a:gd name="T35" fmla="*/ 228 h 247"/>
                <a:gd name="T36" fmla="*/ 53 w 327"/>
                <a:gd name="T37" fmla="*/ 214 h 247"/>
                <a:gd name="T38" fmla="*/ 69 w 327"/>
                <a:gd name="T39" fmla="*/ 90 h 247"/>
                <a:gd name="T40" fmla="*/ 84 w 327"/>
                <a:gd name="T41" fmla="*/ 121 h 247"/>
                <a:gd name="T42" fmla="*/ 102 w 327"/>
                <a:gd name="T43" fmla="*/ 158 h 247"/>
                <a:gd name="T44" fmla="*/ 138 w 327"/>
                <a:gd name="T45" fmla="*/ 230 h 247"/>
                <a:gd name="T46" fmla="*/ 139 w 327"/>
                <a:gd name="T47" fmla="*/ 232 h 247"/>
                <a:gd name="T48" fmla="*/ 150 w 327"/>
                <a:gd name="T49" fmla="*/ 246 h 247"/>
                <a:gd name="T50" fmla="*/ 162 w 327"/>
                <a:gd name="T51" fmla="*/ 228 h 247"/>
                <a:gd name="T52" fmla="*/ 231 w 327"/>
                <a:gd name="T53" fmla="*/ 85 h 247"/>
                <a:gd name="T54" fmla="*/ 250 w 327"/>
                <a:gd name="T55" fmla="*/ 223 h 247"/>
                <a:gd name="T56" fmla="*/ 250 w 327"/>
                <a:gd name="T57" fmla="*/ 230 h 247"/>
                <a:gd name="T58" fmla="*/ 248 w 327"/>
                <a:gd name="T59" fmla="*/ 236 h 247"/>
                <a:gd name="T60" fmla="*/ 244 w 327"/>
                <a:gd name="T61" fmla="*/ 240 h 247"/>
                <a:gd name="T62" fmla="*/ 254 w 327"/>
                <a:gd name="T63" fmla="*/ 245 h 247"/>
                <a:gd name="T64" fmla="*/ 318 w 327"/>
                <a:gd name="T65" fmla="*/ 247 h 247"/>
                <a:gd name="T66" fmla="*/ 327 w 327"/>
                <a:gd name="T67" fmla="*/ 242 h 247"/>
                <a:gd name="T68" fmla="*/ 322 w 327"/>
                <a:gd name="T69" fmla="*/ 239 h 247"/>
                <a:gd name="T70" fmla="*/ 302 w 327"/>
                <a:gd name="T71" fmla="*/ 236 h 247"/>
                <a:gd name="T72" fmla="*/ 287 w 327"/>
                <a:gd name="T73" fmla="*/ 205 h 247"/>
                <a:gd name="T74" fmla="*/ 259 w 327"/>
                <a:gd name="T75" fmla="*/ 10 h 247"/>
                <a:gd name="T76" fmla="*/ 252 w 327"/>
                <a:gd name="T77" fmla="*/ 0 h 247"/>
                <a:gd name="T78" fmla="*/ 245 w 327"/>
                <a:gd name="T79" fmla="*/ 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47">
                  <a:moveTo>
                    <a:pt x="245" y="8"/>
                  </a:moveTo>
                  <a:cubicBezTo>
                    <a:pt x="245" y="8"/>
                    <a:pt x="167" y="171"/>
                    <a:pt x="159" y="186"/>
                  </a:cubicBezTo>
                  <a:cubicBezTo>
                    <a:pt x="158" y="183"/>
                    <a:pt x="74" y="10"/>
                    <a:pt x="74" y="10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3" y="0"/>
                    <a:pt x="60" y="1"/>
                    <a:pt x="59" y="8"/>
                  </a:cubicBezTo>
                  <a:cubicBezTo>
                    <a:pt x="27" y="214"/>
                    <a:pt x="27" y="214"/>
                    <a:pt x="27" y="214"/>
                  </a:cubicBezTo>
                  <a:cubicBezTo>
                    <a:pt x="26" y="226"/>
                    <a:pt x="23" y="237"/>
                    <a:pt x="15" y="238"/>
                  </a:cubicBezTo>
                  <a:cubicBezTo>
                    <a:pt x="15" y="238"/>
                    <a:pt x="6" y="239"/>
                    <a:pt x="6" y="239"/>
                  </a:cubicBezTo>
                  <a:cubicBezTo>
                    <a:pt x="4" y="239"/>
                    <a:pt x="0" y="239"/>
                    <a:pt x="0" y="242"/>
                  </a:cubicBezTo>
                  <a:cubicBezTo>
                    <a:pt x="0" y="247"/>
                    <a:pt x="5" y="247"/>
                    <a:pt x="6" y="247"/>
                  </a:cubicBezTo>
                  <a:cubicBezTo>
                    <a:pt x="26" y="246"/>
                    <a:pt x="26" y="246"/>
                    <a:pt x="26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8" y="246"/>
                    <a:pt x="48" y="246"/>
                    <a:pt x="48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5" y="247"/>
                    <a:pt x="79" y="246"/>
                    <a:pt x="79" y="242"/>
                  </a:cubicBezTo>
                  <a:cubicBezTo>
                    <a:pt x="79" y="240"/>
                    <a:pt x="77" y="239"/>
                    <a:pt x="74" y="239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55" y="236"/>
                    <a:pt x="52" y="233"/>
                    <a:pt x="52" y="228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14"/>
                    <a:pt x="67" y="104"/>
                    <a:pt x="69" y="90"/>
                  </a:cubicBezTo>
                  <a:cubicBezTo>
                    <a:pt x="71" y="94"/>
                    <a:pt x="84" y="121"/>
                    <a:pt x="84" y="121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5" y="167"/>
                    <a:pt x="130" y="215"/>
                    <a:pt x="138" y="23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41"/>
                    <a:pt x="147" y="246"/>
                    <a:pt x="150" y="246"/>
                  </a:cubicBezTo>
                  <a:cubicBezTo>
                    <a:pt x="153" y="246"/>
                    <a:pt x="155" y="243"/>
                    <a:pt x="162" y="228"/>
                  </a:cubicBezTo>
                  <a:cubicBezTo>
                    <a:pt x="162" y="228"/>
                    <a:pt x="231" y="85"/>
                    <a:pt x="231" y="85"/>
                  </a:cubicBezTo>
                  <a:cubicBezTo>
                    <a:pt x="231" y="86"/>
                    <a:pt x="250" y="223"/>
                    <a:pt x="250" y="223"/>
                  </a:cubicBezTo>
                  <a:cubicBezTo>
                    <a:pt x="250" y="226"/>
                    <a:pt x="250" y="228"/>
                    <a:pt x="250" y="230"/>
                  </a:cubicBezTo>
                  <a:cubicBezTo>
                    <a:pt x="250" y="234"/>
                    <a:pt x="249" y="236"/>
                    <a:pt x="248" y="236"/>
                  </a:cubicBezTo>
                  <a:cubicBezTo>
                    <a:pt x="246" y="237"/>
                    <a:pt x="244" y="238"/>
                    <a:pt x="244" y="240"/>
                  </a:cubicBezTo>
                  <a:cubicBezTo>
                    <a:pt x="244" y="243"/>
                    <a:pt x="248" y="244"/>
                    <a:pt x="254" y="245"/>
                  </a:cubicBezTo>
                  <a:cubicBezTo>
                    <a:pt x="267" y="246"/>
                    <a:pt x="310" y="247"/>
                    <a:pt x="318" y="247"/>
                  </a:cubicBezTo>
                  <a:cubicBezTo>
                    <a:pt x="324" y="247"/>
                    <a:pt x="327" y="245"/>
                    <a:pt x="327" y="242"/>
                  </a:cubicBezTo>
                  <a:cubicBezTo>
                    <a:pt x="327" y="239"/>
                    <a:pt x="323" y="239"/>
                    <a:pt x="322" y="239"/>
                  </a:cubicBezTo>
                  <a:cubicBezTo>
                    <a:pt x="317" y="239"/>
                    <a:pt x="311" y="239"/>
                    <a:pt x="302" y="236"/>
                  </a:cubicBezTo>
                  <a:cubicBezTo>
                    <a:pt x="293" y="233"/>
                    <a:pt x="290" y="224"/>
                    <a:pt x="287" y="205"/>
                  </a:cubicBezTo>
                  <a:cubicBezTo>
                    <a:pt x="259" y="10"/>
                    <a:pt x="259" y="10"/>
                    <a:pt x="259" y="10"/>
                  </a:cubicBezTo>
                  <a:cubicBezTo>
                    <a:pt x="258" y="3"/>
                    <a:pt x="256" y="0"/>
                    <a:pt x="252" y="0"/>
                  </a:cubicBezTo>
                  <a:cubicBezTo>
                    <a:pt x="249" y="0"/>
                    <a:pt x="247" y="3"/>
                    <a:pt x="24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4" name="Freeform 23">
              <a:extLst>
                <a:ext uri="{FF2B5EF4-FFF2-40B4-BE49-F238E27FC236}">
                  <a16:creationId xmlns:a16="http://schemas.microsoft.com/office/drawing/2014/main" id="{EB36210F-5F47-4D2F-BA76-7452E2D85D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4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6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5 w 161"/>
                <a:gd name="T79" fmla="*/ 144 h 243"/>
                <a:gd name="T80" fmla="*/ 145 w 161"/>
                <a:gd name="T81" fmla="*/ 134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6" y="1"/>
                    <a:pt x="146" y="1"/>
                    <a:pt x="146" y="1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8"/>
                    <a:pt x="27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1"/>
                    <a:pt x="7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6" y="136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5" y="150"/>
                    <a:pt x="145" y="146"/>
                    <a:pt x="145" y="14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4" y="96"/>
                    <a:pt x="142" y="98"/>
                    <a:pt x="140" y="100"/>
                  </a:cubicBezTo>
                  <a:cubicBezTo>
                    <a:pt x="137" y="104"/>
                    <a:pt x="133" y="104"/>
                    <a:pt x="125" y="105"/>
                  </a:cubicBezTo>
                  <a:cubicBezTo>
                    <a:pt x="120" y="105"/>
                    <a:pt x="103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3"/>
                    <a:pt x="153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5" name="Freeform 24">
              <a:extLst>
                <a:ext uri="{FF2B5EF4-FFF2-40B4-BE49-F238E27FC236}">
                  <a16:creationId xmlns:a16="http://schemas.microsoft.com/office/drawing/2014/main" id="{AAE3FD0C-AF52-40EF-8864-1463EECD18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0" y="2740"/>
              <a:ext cx="114" cy="164"/>
            </a:xfrm>
            <a:custGeom>
              <a:avLst/>
              <a:gdLst>
                <a:gd name="T0" fmla="*/ 68 w 167"/>
                <a:gd name="T1" fmla="*/ 1 h 241"/>
                <a:gd name="T2" fmla="*/ 51 w 167"/>
                <a:gd name="T3" fmla="*/ 1 h 241"/>
                <a:gd name="T4" fmla="*/ 35 w 167"/>
                <a:gd name="T5" fmla="*/ 1 h 241"/>
                <a:gd name="T6" fmla="*/ 8 w 167"/>
                <a:gd name="T7" fmla="*/ 0 h 241"/>
                <a:gd name="T8" fmla="*/ 0 w 167"/>
                <a:gd name="T9" fmla="*/ 4 h 241"/>
                <a:gd name="T10" fmla="*/ 7 w 167"/>
                <a:gd name="T11" fmla="*/ 8 h 241"/>
                <a:gd name="T12" fmla="*/ 17 w 167"/>
                <a:gd name="T13" fmla="*/ 9 h 241"/>
                <a:gd name="T14" fmla="*/ 30 w 167"/>
                <a:gd name="T15" fmla="*/ 26 h 241"/>
                <a:gd name="T16" fmla="*/ 30 w 167"/>
                <a:gd name="T17" fmla="*/ 93 h 241"/>
                <a:gd name="T18" fmla="*/ 30 w 167"/>
                <a:gd name="T19" fmla="*/ 148 h 241"/>
                <a:gd name="T20" fmla="*/ 29 w 167"/>
                <a:gd name="T21" fmla="*/ 215 h 241"/>
                <a:gd name="T22" fmla="*/ 20 w 167"/>
                <a:gd name="T23" fmla="*/ 232 h 241"/>
                <a:gd name="T24" fmla="*/ 9 w 167"/>
                <a:gd name="T25" fmla="*/ 233 h 241"/>
                <a:gd name="T26" fmla="*/ 3 w 167"/>
                <a:gd name="T27" fmla="*/ 237 h 241"/>
                <a:gd name="T28" fmla="*/ 10 w 167"/>
                <a:gd name="T29" fmla="*/ 240 h 241"/>
                <a:gd name="T30" fmla="*/ 32 w 167"/>
                <a:gd name="T31" fmla="*/ 240 h 241"/>
                <a:gd name="T32" fmla="*/ 50 w 167"/>
                <a:gd name="T33" fmla="*/ 240 h 241"/>
                <a:gd name="T34" fmla="*/ 99 w 167"/>
                <a:gd name="T35" fmla="*/ 241 h 241"/>
                <a:gd name="T36" fmla="*/ 142 w 167"/>
                <a:gd name="T37" fmla="*/ 241 h 241"/>
                <a:gd name="T38" fmla="*/ 162 w 167"/>
                <a:gd name="T39" fmla="*/ 232 h 241"/>
                <a:gd name="T40" fmla="*/ 167 w 167"/>
                <a:gd name="T41" fmla="*/ 196 h 241"/>
                <a:gd name="T42" fmla="*/ 164 w 167"/>
                <a:gd name="T43" fmla="*/ 190 h 241"/>
                <a:gd name="T44" fmla="*/ 160 w 167"/>
                <a:gd name="T45" fmla="*/ 195 h 241"/>
                <a:gd name="T46" fmla="*/ 152 w 167"/>
                <a:gd name="T47" fmla="*/ 214 h 241"/>
                <a:gd name="T48" fmla="*/ 115 w 167"/>
                <a:gd name="T49" fmla="*/ 222 h 241"/>
                <a:gd name="T50" fmla="*/ 78 w 167"/>
                <a:gd name="T51" fmla="*/ 216 h 241"/>
                <a:gd name="T52" fmla="*/ 71 w 167"/>
                <a:gd name="T53" fmla="*/ 148 h 241"/>
                <a:gd name="T54" fmla="*/ 71 w 167"/>
                <a:gd name="T55" fmla="*/ 93 h 241"/>
                <a:gd name="T56" fmla="*/ 72 w 167"/>
                <a:gd name="T57" fmla="*/ 26 h 241"/>
                <a:gd name="T58" fmla="*/ 83 w 167"/>
                <a:gd name="T59" fmla="*/ 9 h 241"/>
                <a:gd name="T60" fmla="*/ 95 w 167"/>
                <a:gd name="T61" fmla="*/ 8 h 241"/>
                <a:gd name="T62" fmla="*/ 102 w 167"/>
                <a:gd name="T63" fmla="*/ 4 h 241"/>
                <a:gd name="T64" fmla="*/ 94 w 167"/>
                <a:gd name="T65" fmla="*/ 0 h 241"/>
                <a:gd name="T66" fmla="*/ 68 w 167"/>
                <a:gd name="T6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241">
                  <a:moveTo>
                    <a:pt x="68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5" y="8"/>
                    <a:pt x="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7" y="11"/>
                    <a:pt x="29" y="16"/>
                    <a:pt x="30" y="26"/>
                  </a:cubicBezTo>
                  <a:cubicBezTo>
                    <a:pt x="30" y="36"/>
                    <a:pt x="30" y="45"/>
                    <a:pt x="30" y="93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77"/>
                    <a:pt x="30" y="202"/>
                    <a:pt x="29" y="215"/>
                  </a:cubicBezTo>
                  <a:cubicBezTo>
                    <a:pt x="27" y="226"/>
                    <a:pt x="26" y="231"/>
                    <a:pt x="20" y="232"/>
                  </a:cubicBezTo>
                  <a:cubicBezTo>
                    <a:pt x="20" y="232"/>
                    <a:pt x="9" y="233"/>
                    <a:pt x="9" y="233"/>
                  </a:cubicBezTo>
                  <a:cubicBezTo>
                    <a:pt x="7" y="233"/>
                    <a:pt x="3" y="234"/>
                    <a:pt x="3" y="237"/>
                  </a:cubicBezTo>
                  <a:cubicBezTo>
                    <a:pt x="3" y="240"/>
                    <a:pt x="9" y="240"/>
                    <a:pt x="10" y="240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2" y="240"/>
                    <a:pt x="50" y="240"/>
                    <a:pt x="50" y="240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142" y="241"/>
                    <a:pt x="142" y="241"/>
                    <a:pt x="142" y="241"/>
                  </a:cubicBezTo>
                  <a:cubicBezTo>
                    <a:pt x="158" y="241"/>
                    <a:pt x="160" y="240"/>
                    <a:pt x="162" y="232"/>
                  </a:cubicBezTo>
                  <a:cubicBezTo>
                    <a:pt x="165" y="223"/>
                    <a:pt x="167" y="200"/>
                    <a:pt x="167" y="196"/>
                  </a:cubicBezTo>
                  <a:cubicBezTo>
                    <a:pt x="167" y="193"/>
                    <a:pt x="167" y="190"/>
                    <a:pt x="164" y="190"/>
                  </a:cubicBezTo>
                  <a:cubicBezTo>
                    <a:pt x="160" y="190"/>
                    <a:pt x="160" y="193"/>
                    <a:pt x="160" y="195"/>
                  </a:cubicBezTo>
                  <a:cubicBezTo>
                    <a:pt x="159" y="201"/>
                    <a:pt x="155" y="210"/>
                    <a:pt x="152" y="214"/>
                  </a:cubicBezTo>
                  <a:cubicBezTo>
                    <a:pt x="144" y="222"/>
                    <a:pt x="133" y="222"/>
                    <a:pt x="115" y="222"/>
                  </a:cubicBezTo>
                  <a:cubicBezTo>
                    <a:pt x="90" y="222"/>
                    <a:pt x="83" y="220"/>
                    <a:pt x="78" y="216"/>
                  </a:cubicBezTo>
                  <a:cubicBezTo>
                    <a:pt x="71" y="210"/>
                    <a:pt x="71" y="188"/>
                    <a:pt x="71" y="148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45"/>
                    <a:pt x="71" y="36"/>
                    <a:pt x="72" y="26"/>
                  </a:cubicBezTo>
                  <a:cubicBezTo>
                    <a:pt x="73" y="14"/>
                    <a:pt x="75" y="10"/>
                    <a:pt x="83" y="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9" y="8"/>
                    <a:pt x="102" y="7"/>
                    <a:pt x="102" y="4"/>
                  </a:cubicBezTo>
                  <a:cubicBezTo>
                    <a:pt x="102" y="1"/>
                    <a:pt x="98" y="0"/>
                    <a:pt x="94" y="0"/>
                  </a:cubicBezTo>
                  <a:lnTo>
                    <a:pt x="6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6" name="Freeform 25">
              <a:extLst>
                <a:ext uri="{FF2B5EF4-FFF2-40B4-BE49-F238E27FC236}">
                  <a16:creationId xmlns:a16="http://schemas.microsoft.com/office/drawing/2014/main" id="{D6D8D356-BF1E-4AE8-9277-DD31E43030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9" y="2740"/>
              <a:ext cx="124" cy="164"/>
            </a:xfrm>
            <a:custGeom>
              <a:avLst/>
              <a:gdLst>
                <a:gd name="T0" fmla="*/ 82 w 183"/>
                <a:gd name="T1" fmla="*/ 222 h 241"/>
                <a:gd name="T2" fmla="*/ 72 w 183"/>
                <a:gd name="T3" fmla="*/ 192 h 241"/>
                <a:gd name="T4" fmla="*/ 72 w 183"/>
                <a:gd name="T5" fmla="*/ 118 h 241"/>
                <a:gd name="T6" fmla="*/ 73 w 183"/>
                <a:gd name="T7" fmla="*/ 116 h 241"/>
                <a:gd name="T8" fmla="*/ 86 w 183"/>
                <a:gd name="T9" fmla="*/ 117 h 241"/>
                <a:gd name="T10" fmla="*/ 112 w 183"/>
                <a:gd name="T11" fmla="*/ 124 h 241"/>
                <a:gd name="T12" fmla="*/ 112 w 183"/>
                <a:gd name="T13" fmla="*/ 124 h 241"/>
                <a:gd name="T14" fmla="*/ 142 w 183"/>
                <a:gd name="T15" fmla="*/ 186 h 241"/>
                <a:gd name="T16" fmla="*/ 105 w 183"/>
                <a:gd name="T17" fmla="*/ 226 h 241"/>
                <a:gd name="T18" fmla="*/ 82 w 183"/>
                <a:gd name="T19" fmla="*/ 222 h 241"/>
                <a:gd name="T20" fmla="*/ 84 w 183"/>
                <a:gd name="T21" fmla="*/ 15 h 241"/>
                <a:gd name="T22" fmla="*/ 123 w 183"/>
                <a:gd name="T23" fmla="*/ 63 h 241"/>
                <a:gd name="T24" fmla="*/ 110 w 183"/>
                <a:gd name="T25" fmla="*/ 96 h 241"/>
                <a:gd name="T26" fmla="*/ 88 w 183"/>
                <a:gd name="T27" fmla="*/ 102 h 241"/>
                <a:gd name="T28" fmla="*/ 73 w 183"/>
                <a:gd name="T29" fmla="*/ 101 h 241"/>
                <a:gd name="T30" fmla="*/ 72 w 183"/>
                <a:gd name="T31" fmla="*/ 98 h 241"/>
                <a:gd name="T32" fmla="*/ 72 w 183"/>
                <a:gd name="T33" fmla="*/ 20 h 241"/>
                <a:gd name="T34" fmla="*/ 74 w 183"/>
                <a:gd name="T35" fmla="*/ 16 h 241"/>
                <a:gd name="T36" fmla="*/ 84 w 183"/>
                <a:gd name="T37" fmla="*/ 15 h 241"/>
                <a:gd name="T38" fmla="*/ 74 w 183"/>
                <a:gd name="T39" fmla="*/ 1 h 241"/>
                <a:gd name="T40" fmla="*/ 51 w 183"/>
                <a:gd name="T41" fmla="*/ 1 h 241"/>
                <a:gd name="T42" fmla="*/ 39 w 183"/>
                <a:gd name="T43" fmla="*/ 1 h 241"/>
                <a:gd name="T44" fmla="*/ 8 w 183"/>
                <a:gd name="T45" fmla="*/ 0 h 241"/>
                <a:gd name="T46" fmla="*/ 0 w 183"/>
                <a:gd name="T47" fmla="*/ 4 h 241"/>
                <a:gd name="T48" fmla="*/ 6 w 183"/>
                <a:gd name="T49" fmla="*/ 8 h 241"/>
                <a:gd name="T50" fmla="*/ 19 w 183"/>
                <a:gd name="T51" fmla="*/ 9 h 241"/>
                <a:gd name="T52" fmla="*/ 32 w 183"/>
                <a:gd name="T53" fmla="*/ 26 h 241"/>
                <a:gd name="T54" fmla="*/ 32 w 183"/>
                <a:gd name="T55" fmla="*/ 93 h 241"/>
                <a:gd name="T56" fmla="*/ 32 w 183"/>
                <a:gd name="T57" fmla="*/ 148 h 241"/>
                <a:gd name="T58" fmla="*/ 31 w 183"/>
                <a:gd name="T59" fmla="*/ 215 h 241"/>
                <a:gd name="T60" fmla="*/ 22 w 183"/>
                <a:gd name="T61" fmla="*/ 232 h 241"/>
                <a:gd name="T62" fmla="*/ 11 w 183"/>
                <a:gd name="T63" fmla="*/ 233 h 241"/>
                <a:gd name="T64" fmla="*/ 5 w 183"/>
                <a:gd name="T65" fmla="*/ 237 h 241"/>
                <a:gd name="T66" fmla="*/ 12 w 183"/>
                <a:gd name="T67" fmla="*/ 241 h 241"/>
                <a:gd name="T68" fmla="*/ 34 w 183"/>
                <a:gd name="T69" fmla="*/ 240 h 241"/>
                <a:gd name="T70" fmla="*/ 52 w 183"/>
                <a:gd name="T71" fmla="*/ 240 h 241"/>
                <a:gd name="T72" fmla="*/ 76 w 183"/>
                <a:gd name="T73" fmla="*/ 241 h 241"/>
                <a:gd name="T74" fmla="*/ 88 w 183"/>
                <a:gd name="T75" fmla="*/ 241 h 241"/>
                <a:gd name="T76" fmla="*/ 98 w 183"/>
                <a:gd name="T77" fmla="*/ 241 h 241"/>
                <a:gd name="T78" fmla="*/ 183 w 183"/>
                <a:gd name="T79" fmla="*/ 172 h 241"/>
                <a:gd name="T80" fmla="*/ 126 w 183"/>
                <a:gd name="T81" fmla="*/ 103 h 241"/>
                <a:gd name="T82" fmla="*/ 157 w 183"/>
                <a:gd name="T83" fmla="*/ 49 h 241"/>
                <a:gd name="T84" fmla="*/ 89 w 183"/>
                <a:gd name="T85" fmla="*/ 0 h 241"/>
                <a:gd name="T86" fmla="*/ 74 w 183"/>
                <a:gd name="T87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" h="241">
                  <a:moveTo>
                    <a:pt x="82" y="222"/>
                  </a:moveTo>
                  <a:cubicBezTo>
                    <a:pt x="72" y="218"/>
                    <a:pt x="72" y="213"/>
                    <a:pt x="72" y="19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6"/>
                    <a:pt x="72" y="116"/>
                    <a:pt x="73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98" y="117"/>
                    <a:pt x="105" y="119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39" y="143"/>
                    <a:pt x="142" y="174"/>
                    <a:pt x="142" y="186"/>
                  </a:cubicBezTo>
                  <a:cubicBezTo>
                    <a:pt x="142" y="224"/>
                    <a:pt x="111" y="226"/>
                    <a:pt x="105" y="226"/>
                  </a:cubicBezTo>
                  <a:cubicBezTo>
                    <a:pt x="98" y="226"/>
                    <a:pt x="91" y="225"/>
                    <a:pt x="82" y="222"/>
                  </a:cubicBezTo>
                  <a:moveTo>
                    <a:pt x="84" y="15"/>
                  </a:moveTo>
                  <a:cubicBezTo>
                    <a:pt x="112" y="15"/>
                    <a:pt x="123" y="44"/>
                    <a:pt x="123" y="63"/>
                  </a:cubicBezTo>
                  <a:cubicBezTo>
                    <a:pt x="123" y="78"/>
                    <a:pt x="118" y="89"/>
                    <a:pt x="110" y="96"/>
                  </a:cubicBezTo>
                  <a:cubicBezTo>
                    <a:pt x="105" y="101"/>
                    <a:pt x="97" y="102"/>
                    <a:pt x="88" y="102"/>
                  </a:cubicBezTo>
                  <a:cubicBezTo>
                    <a:pt x="73" y="101"/>
                    <a:pt x="73" y="101"/>
                    <a:pt x="73" y="101"/>
                  </a:cubicBezTo>
                  <a:cubicBezTo>
                    <a:pt x="72" y="101"/>
                    <a:pt x="72" y="100"/>
                    <a:pt x="72" y="98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7"/>
                    <a:pt x="72" y="16"/>
                    <a:pt x="74" y="16"/>
                  </a:cubicBezTo>
                  <a:cubicBezTo>
                    <a:pt x="74" y="16"/>
                    <a:pt x="84" y="15"/>
                    <a:pt x="84" y="15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9" y="11"/>
                    <a:pt x="31" y="16"/>
                    <a:pt x="32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1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22" y="232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4" y="240"/>
                    <a:pt x="52" y="240"/>
                    <a:pt x="52" y="240"/>
                  </a:cubicBezTo>
                  <a:cubicBezTo>
                    <a:pt x="76" y="241"/>
                    <a:pt x="76" y="241"/>
                    <a:pt x="76" y="241"/>
                  </a:cubicBezTo>
                  <a:cubicBezTo>
                    <a:pt x="76" y="241"/>
                    <a:pt x="88" y="241"/>
                    <a:pt x="8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156" y="241"/>
                    <a:pt x="183" y="206"/>
                    <a:pt x="183" y="172"/>
                  </a:cubicBezTo>
                  <a:cubicBezTo>
                    <a:pt x="183" y="136"/>
                    <a:pt x="154" y="113"/>
                    <a:pt x="126" y="103"/>
                  </a:cubicBezTo>
                  <a:cubicBezTo>
                    <a:pt x="145" y="88"/>
                    <a:pt x="157" y="73"/>
                    <a:pt x="157" y="49"/>
                  </a:cubicBezTo>
                  <a:cubicBezTo>
                    <a:pt x="157" y="37"/>
                    <a:pt x="152" y="0"/>
                    <a:pt x="89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7" name="Freeform 26">
              <a:extLst>
                <a:ext uri="{FF2B5EF4-FFF2-40B4-BE49-F238E27FC236}">
                  <a16:creationId xmlns:a16="http://schemas.microsoft.com/office/drawing/2014/main" id="{3B13FBCC-8FA3-49FE-AFBC-9772E5283C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34" y="2738"/>
              <a:ext cx="176" cy="169"/>
            </a:xfrm>
            <a:custGeom>
              <a:avLst/>
              <a:gdLst>
                <a:gd name="T0" fmla="*/ 45 w 259"/>
                <a:gd name="T1" fmla="*/ 115 h 249"/>
                <a:gd name="T2" fmla="*/ 121 w 259"/>
                <a:gd name="T3" fmla="*/ 17 h 249"/>
                <a:gd name="T4" fmla="*/ 213 w 259"/>
                <a:gd name="T5" fmla="*/ 130 h 249"/>
                <a:gd name="T6" fmla="*/ 141 w 259"/>
                <a:gd name="T7" fmla="*/ 232 h 249"/>
                <a:gd name="T8" fmla="*/ 45 w 259"/>
                <a:gd name="T9" fmla="*/ 115 h 249"/>
                <a:gd name="T10" fmla="*/ 0 w 259"/>
                <a:gd name="T11" fmla="*/ 125 h 249"/>
                <a:gd name="T12" fmla="*/ 127 w 259"/>
                <a:gd name="T13" fmla="*/ 249 h 249"/>
                <a:gd name="T14" fmla="*/ 259 w 259"/>
                <a:gd name="T15" fmla="*/ 119 h 249"/>
                <a:gd name="T16" fmla="*/ 131 w 259"/>
                <a:gd name="T17" fmla="*/ 0 h 249"/>
                <a:gd name="T18" fmla="*/ 0 w 259"/>
                <a:gd name="T19" fmla="*/ 12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249">
                  <a:moveTo>
                    <a:pt x="45" y="115"/>
                  </a:moveTo>
                  <a:cubicBezTo>
                    <a:pt x="45" y="29"/>
                    <a:pt x="93" y="17"/>
                    <a:pt x="121" y="17"/>
                  </a:cubicBezTo>
                  <a:cubicBezTo>
                    <a:pt x="175" y="17"/>
                    <a:pt x="213" y="64"/>
                    <a:pt x="213" y="130"/>
                  </a:cubicBezTo>
                  <a:cubicBezTo>
                    <a:pt x="213" y="222"/>
                    <a:pt x="162" y="232"/>
                    <a:pt x="141" y="232"/>
                  </a:cubicBezTo>
                  <a:cubicBezTo>
                    <a:pt x="84" y="232"/>
                    <a:pt x="45" y="184"/>
                    <a:pt x="45" y="115"/>
                  </a:cubicBezTo>
                  <a:moveTo>
                    <a:pt x="0" y="125"/>
                  </a:moveTo>
                  <a:cubicBezTo>
                    <a:pt x="0" y="184"/>
                    <a:pt x="40" y="249"/>
                    <a:pt x="127" y="249"/>
                  </a:cubicBezTo>
                  <a:cubicBezTo>
                    <a:pt x="205" y="249"/>
                    <a:pt x="259" y="195"/>
                    <a:pt x="259" y="119"/>
                  </a:cubicBezTo>
                  <a:cubicBezTo>
                    <a:pt x="259" y="46"/>
                    <a:pt x="210" y="0"/>
                    <a:pt x="131" y="0"/>
                  </a:cubicBezTo>
                  <a:cubicBezTo>
                    <a:pt x="41" y="0"/>
                    <a:pt x="0" y="65"/>
                    <a:pt x="0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8" name="Freeform 27">
              <a:extLst>
                <a:ext uri="{FF2B5EF4-FFF2-40B4-BE49-F238E27FC236}">
                  <a16:creationId xmlns:a16="http://schemas.microsoft.com/office/drawing/2014/main" id="{2F2E1BE9-A009-417C-B408-DAC2049B09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740"/>
              <a:ext cx="172" cy="167"/>
            </a:xfrm>
            <a:custGeom>
              <a:avLst/>
              <a:gdLst>
                <a:gd name="T0" fmla="*/ 220 w 254"/>
                <a:gd name="T1" fmla="*/ 1 h 245"/>
                <a:gd name="T2" fmla="*/ 211 w 254"/>
                <a:gd name="T3" fmla="*/ 1 h 245"/>
                <a:gd name="T4" fmla="*/ 174 w 254"/>
                <a:gd name="T5" fmla="*/ 0 h 245"/>
                <a:gd name="T6" fmla="*/ 167 w 254"/>
                <a:gd name="T7" fmla="*/ 4 h 245"/>
                <a:gd name="T8" fmla="*/ 173 w 254"/>
                <a:gd name="T9" fmla="*/ 8 h 245"/>
                <a:gd name="T10" fmla="*/ 184 w 254"/>
                <a:gd name="T11" fmla="*/ 9 h 245"/>
                <a:gd name="T12" fmla="*/ 197 w 254"/>
                <a:gd name="T13" fmla="*/ 26 h 245"/>
                <a:gd name="T14" fmla="*/ 198 w 254"/>
                <a:gd name="T15" fmla="*/ 93 h 245"/>
                <a:gd name="T16" fmla="*/ 198 w 254"/>
                <a:gd name="T17" fmla="*/ 132 h 245"/>
                <a:gd name="T18" fmla="*/ 180 w 254"/>
                <a:gd name="T19" fmla="*/ 210 h 245"/>
                <a:gd name="T20" fmla="*/ 137 w 254"/>
                <a:gd name="T21" fmla="*/ 227 h 245"/>
                <a:gd name="T22" fmla="*/ 98 w 254"/>
                <a:gd name="T23" fmla="*/ 214 h 245"/>
                <a:gd name="T24" fmla="*/ 74 w 254"/>
                <a:gd name="T25" fmla="*/ 137 h 245"/>
                <a:gd name="T26" fmla="*/ 74 w 254"/>
                <a:gd name="T27" fmla="*/ 93 h 245"/>
                <a:gd name="T28" fmla="*/ 74 w 254"/>
                <a:gd name="T29" fmla="*/ 26 h 245"/>
                <a:gd name="T30" fmla="*/ 85 w 254"/>
                <a:gd name="T31" fmla="*/ 9 h 245"/>
                <a:gd name="T32" fmla="*/ 94 w 254"/>
                <a:gd name="T33" fmla="*/ 8 h 245"/>
                <a:gd name="T34" fmla="*/ 100 w 254"/>
                <a:gd name="T35" fmla="*/ 4 h 245"/>
                <a:gd name="T36" fmla="*/ 92 w 254"/>
                <a:gd name="T37" fmla="*/ 0 h 245"/>
                <a:gd name="T38" fmla="*/ 69 w 254"/>
                <a:gd name="T39" fmla="*/ 1 h 245"/>
                <a:gd name="T40" fmla="*/ 54 w 254"/>
                <a:gd name="T41" fmla="*/ 1 h 245"/>
                <a:gd name="T42" fmla="*/ 37 w 254"/>
                <a:gd name="T43" fmla="*/ 1 h 245"/>
                <a:gd name="T44" fmla="*/ 8 w 254"/>
                <a:gd name="T45" fmla="*/ 0 h 245"/>
                <a:gd name="T46" fmla="*/ 0 w 254"/>
                <a:gd name="T47" fmla="*/ 4 h 245"/>
                <a:gd name="T48" fmla="*/ 6 w 254"/>
                <a:gd name="T49" fmla="*/ 8 h 245"/>
                <a:gd name="T50" fmla="*/ 18 w 254"/>
                <a:gd name="T51" fmla="*/ 9 h 245"/>
                <a:gd name="T52" fmla="*/ 31 w 254"/>
                <a:gd name="T53" fmla="*/ 26 h 245"/>
                <a:gd name="T54" fmla="*/ 32 w 254"/>
                <a:gd name="T55" fmla="*/ 93 h 245"/>
                <a:gd name="T56" fmla="*/ 32 w 254"/>
                <a:gd name="T57" fmla="*/ 139 h 245"/>
                <a:gd name="T58" fmla="*/ 60 w 254"/>
                <a:gd name="T59" fmla="*/ 223 h 245"/>
                <a:gd name="T60" fmla="*/ 131 w 254"/>
                <a:gd name="T61" fmla="*/ 245 h 245"/>
                <a:gd name="T62" fmla="*/ 197 w 254"/>
                <a:gd name="T63" fmla="*/ 222 h 245"/>
                <a:gd name="T64" fmla="*/ 227 w 254"/>
                <a:gd name="T65" fmla="*/ 126 h 245"/>
                <a:gd name="T66" fmla="*/ 227 w 254"/>
                <a:gd name="T67" fmla="*/ 93 h 245"/>
                <a:gd name="T68" fmla="*/ 228 w 254"/>
                <a:gd name="T69" fmla="*/ 26 h 245"/>
                <a:gd name="T70" fmla="*/ 239 w 254"/>
                <a:gd name="T71" fmla="*/ 9 h 245"/>
                <a:gd name="T72" fmla="*/ 248 w 254"/>
                <a:gd name="T73" fmla="*/ 8 h 245"/>
                <a:gd name="T74" fmla="*/ 254 w 254"/>
                <a:gd name="T75" fmla="*/ 4 h 245"/>
                <a:gd name="T76" fmla="*/ 247 w 254"/>
                <a:gd name="T77" fmla="*/ 0 h 245"/>
                <a:gd name="T78" fmla="*/ 220 w 254"/>
                <a:gd name="T79" fmla="*/ 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4" h="245">
                  <a:moveTo>
                    <a:pt x="220" y="1"/>
                  </a:moveTo>
                  <a:cubicBezTo>
                    <a:pt x="211" y="1"/>
                    <a:pt x="211" y="1"/>
                    <a:pt x="211" y="1"/>
                  </a:cubicBezTo>
                  <a:cubicBezTo>
                    <a:pt x="210" y="1"/>
                    <a:pt x="174" y="0"/>
                    <a:pt x="174" y="0"/>
                  </a:cubicBezTo>
                  <a:cubicBezTo>
                    <a:pt x="171" y="0"/>
                    <a:pt x="167" y="1"/>
                    <a:pt x="167" y="4"/>
                  </a:cubicBezTo>
                  <a:cubicBezTo>
                    <a:pt x="167" y="8"/>
                    <a:pt x="171" y="8"/>
                    <a:pt x="173" y="8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5" y="11"/>
                    <a:pt x="197" y="16"/>
                    <a:pt x="197" y="26"/>
                  </a:cubicBezTo>
                  <a:cubicBezTo>
                    <a:pt x="198" y="36"/>
                    <a:pt x="198" y="45"/>
                    <a:pt x="198" y="93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8" y="166"/>
                    <a:pt x="197" y="193"/>
                    <a:pt x="180" y="210"/>
                  </a:cubicBezTo>
                  <a:cubicBezTo>
                    <a:pt x="165" y="225"/>
                    <a:pt x="145" y="227"/>
                    <a:pt x="137" y="227"/>
                  </a:cubicBezTo>
                  <a:cubicBezTo>
                    <a:pt x="126" y="227"/>
                    <a:pt x="112" y="225"/>
                    <a:pt x="98" y="214"/>
                  </a:cubicBezTo>
                  <a:cubicBezTo>
                    <a:pt x="85" y="204"/>
                    <a:pt x="74" y="187"/>
                    <a:pt x="74" y="137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45"/>
                    <a:pt x="74" y="36"/>
                    <a:pt x="74" y="26"/>
                  </a:cubicBezTo>
                  <a:cubicBezTo>
                    <a:pt x="75" y="14"/>
                    <a:pt x="78" y="10"/>
                    <a:pt x="85" y="9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8"/>
                    <a:pt x="100" y="8"/>
                    <a:pt x="100" y="4"/>
                  </a:cubicBezTo>
                  <a:cubicBezTo>
                    <a:pt x="100" y="1"/>
                    <a:pt x="96" y="0"/>
                    <a:pt x="92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79"/>
                    <a:pt x="41" y="206"/>
                    <a:pt x="60" y="223"/>
                  </a:cubicBezTo>
                  <a:cubicBezTo>
                    <a:pt x="84" y="245"/>
                    <a:pt x="117" y="245"/>
                    <a:pt x="131" y="245"/>
                  </a:cubicBezTo>
                  <a:cubicBezTo>
                    <a:pt x="149" y="245"/>
                    <a:pt x="173" y="242"/>
                    <a:pt x="197" y="222"/>
                  </a:cubicBezTo>
                  <a:cubicBezTo>
                    <a:pt x="223" y="199"/>
                    <a:pt x="227" y="163"/>
                    <a:pt x="227" y="126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27" y="45"/>
                    <a:pt x="227" y="36"/>
                    <a:pt x="228" y="26"/>
                  </a:cubicBezTo>
                  <a:cubicBezTo>
                    <a:pt x="228" y="14"/>
                    <a:pt x="231" y="10"/>
                    <a:pt x="239" y="9"/>
                  </a:cubicBezTo>
                  <a:cubicBezTo>
                    <a:pt x="239" y="9"/>
                    <a:pt x="248" y="8"/>
                    <a:pt x="248" y="8"/>
                  </a:cubicBezTo>
                  <a:cubicBezTo>
                    <a:pt x="251" y="8"/>
                    <a:pt x="254" y="7"/>
                    <a:pt x="254" y="4"/>
                  </a:cubicBezTo>
                  <a:cubicBezTo>
                    <a:pt x="254" y="1"/>
                    <a:pt x="250" y="0"/>
                    <a:pt x="247" y="0"/>
                  </a:cubicBezTo>
                  <a:lnTo>
                    <a:pt x="22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09" name="Freeform 28">
              <a:extLst>
                <a:ext uri="{FF2B5EF4-FFF2-40B4-BE49-F238E27FC236}">
                  <a16:creationId xmlns:a16="http://schemas.microsoft.com/office/drawing/2014/main" id="{A2C49584-9B59-4558-83B2-4DE82B9450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16" y="2740"/>
              <a:ext cx="170" cy="164"/>
            </a:xfrm>
            <a:custGeom>
              <a:avLst/>
              <a:gdLst>
                <a:gd name="T0" fmla="*/ 73 w 251"/>
                <a:gd name="T1" fmla="*/ 123 h 241"/>
                <a:gd name="T2" fmla="*/ 71 w 251"/>
                <a:gd name="T3" fmla="*/ 118 h 241"/>
                <a:gd name="T4" fmla="*/ 71 w 251"/>
                <a:gd name="T5" fmla="*/ 22 h 241"/>
                <a:gd name="T6" fmla="*/ 73 w 251"/>
                <a:gd name="T7" fmla="*/ 18 h 241"/>
                <a:gd name="T8" fmla="*/ 90 w 251"/>
                <a:gd name="T9" fmla="*/ 17 h 241"/>
                <a:gd name="T10" fmla="*/ 137 w 251"/>
                <a:gd name="T11" fmla="*/ 74 h 241"/>
                <a:gd name="T12" fmla="*/ 119 w 251"/>
                <a:gd name="T13" fmla="*/ 120 h 241"/>
                <a:gd name="T14" fmla="*/ 97 w 251"/>
                <a:gd name="T15" fmla="*/ 126 h 241"/>
                <a:gd name="T16" fmla="*/ 73 w 251"/>
                <a:gd name="T17" fmla="*/ 123 h 241"/>
                <a:gd name="T18" fmla="*/ 74 w 251"/>
                <a:gd name="T19" fmla="*/ 1 h 241"/>
                <a:gd name="T20" fmla="*/ 51 w 251"/>
                <a:gd name="T21" fmla="*/ 1 h 241"/>
                <a:gd name="T22" fmla="*/ 38 w 251"/>
                <a:gd name="T23" fmla="*/ 1 h 241"/>
                <a:gd name="T24" fmla="*/ 8 w 251"/>
                <a:gd name="T25" fmla="*/ 0 h 241"/>
                <a:gd name="T26" fmla="*/ 0 w 251"/>
                <a:gd name="T27" fmla="*/ 4 h 241"/>
                <a:gd name="T28" fmla="*/ 6 w 251"/>
                <a:gd name="T29" fmla="*/ 8 h 241"/>
                <a:gd name="T30" fmla="*/ 18 w 251"/>
                <a:gd name="T31" fmla="*/ 9 h 241"/>
                <a:gd name="T32" fmla="*/ 31 w 251"/>
                <a:gd name="T33" fmla="*/ 26 h 241"/>
                <a:gd name="T34" fmla="*/ 32 w 251"/>
                <a:gd name="T35" fmla="*/ 93 h 241"/>
                <a:gd name="T36" fmla="*/ 32 w 251"/>
                <a:gd name="T37" fmla="*/ 148 h 241"/>
                <a:gd name="T38" fmla="*/ 30 w 251"/>
                <a:gd name="T39" fmla="*/ 215 h 241"/>
                <a:gd name="T40" fmla="*/ 22 w 251"/>
                <a:gd name="T41" fmla="*/ 232 h 241"/>
                <a:gd name="T42" fmla="*/ 11 w 251"/>
                <a:gd name="T43" fmla="*/ 233 h 241"/>
                <a:gd name="T44" fmla="*/ 5 w 251"/>
                <a:gd name="T45" fmla="*/ 237 h 241"/>
                <a:gd name="T46" fmla="*/ 12 w 251"/>
                <a:gd name="T47" fmla="*/ 241 h 241"/>
                <a:gd name="T48" fmla="*/ 38 w 251"/>
                <a:gd name="T49" fmla="*/ 240 h 241"/>
                <a:gd name="T50" fmla="*/ 50 w 251"/>
                <a:gd name="T51" fmla="*/ 240 h 241"/>
                <a:gd name="T52" fmla="*/ 61 w 251"/>
                <a:gd name="T53" fmla="*/ 240 h 241"/>
                <a:gd name="T54" fmla="*/ 97 w 251"/>
                <a:gd name="T55" fmla="*/ 241 h 241"/>
                <a:gd name="T56" fmla="*/ 104 w 251"/>
                <a:gd name="T57" fmla="*/ 237 h 241"/>
                <a:gd name="T58" fmla="*/ 99 w 251"/>
                <a:gd name="T59" fmla="*/ 233 h 241"/>
                <a:gd name="T60" fmla="*/ 84 w 251"/>
                <a:gd name="T61" fmla="*/ 232 h 241"/>
                <a:gd name="T62" fmla="*/ 72 w 251"/>
                <a:gd name="T63" fmla="*/ 215 h 241"/>
                <a:gd name="T64" fmla="*/ 71 w 251"/>
                <a:gd name="T65" fmla="*/ 148 h 241"/>
                <a:gd name="T66" fmla="*/ 71 w 251"/>
                <a:gd name="T67" fmla="*/ 143 h 241"/>
                <a:gd name="T68" fmla="*/ 73 w 251"/>
                <a:gd name="T69" fmla="*/ 142 h 241"/>
                <a:gd name="T70" fmla="*/ 100 w 251"/>
                <a:gd name="T71" fmla="*/ 142 h 241"/>
                <a:gd name="T72" fmla="*/ 105 w 251"/>
                <a:gd name="T73" fmla="*/ 144 h 241"/>
                <a:gd name="T74" fmla="*/ 120 w 251"/>
                <a:gd name="T75" fmla="*/ 165 h 241"/>
                <a:gd name="T76" fmla="*/ 136 w 251"/>
                <a:gd name="T77" fmla="*/ 188 h 241"/>
                <a:gd name="T78" fmla="*/ 180 w 251"/>
                <a:gd name="T79" fmla="*/ 234 h 241"/>
                <a:gd name="T80" fmla="*/ 214 w 251"/>
                <a:gd name="T81" fmla="*/ 241 h 241"/>
                <a:gd name="T82" fmla="*/ 244 w 251"/>
                <a:gd name="T83" fmla="*/ 241 h 241"/>
                <a:gd name="T84" fmla="*/ 251 w 251"/>
                <a:gd name="T85" fmla="*/ 237 h 241"/>
                <a:gd name="T86" fmla="*/ 246 w 251"/>
                <a:gd name="T87" fmla="*/ 233 h 241"/>
                <a:gd name="T88" fmla="*/ 237 w 251"/>
                <a:gd name="T89" fmla="*/ 232 h 241"/>
                <a:gd name="T90" fmla="*/ 202 w 251"/>
                <a:gd name="T91" fmla="*/ 211 h 241"/>
                <a:gd name="T92" fmla="*/ 145 w 251"/>
                <a:gd name="T93" fmla="*/ 142 h 241"/>
                <a:gd name="T94" fmla="*/ 134 w 251"/>
                <a:gd name="T95" fmla="*/ 129 h 241"/>
                <a:gd name="T96" fmla="*/ 176 w 251"/>
                <a:gd name="T97" fmla="*/ 58 h 241"/>
                <a:gd name="T98" fmla="*/ 154 w 251"/>
                <a:gd name="T99" fmla="*/ 14 h 241"/>
                <a:gd name="T100" fmla="*/ 96 w 251"/>
                <a:gd name="T101" fmla="*/ 0 h 241"/>
                <a:gd name="T102" fmla="*/ 74 w 251"/>
                <a:gd name="T103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1" h="241">
                  <a:moveTo>
                    <a:pt x="73" y="123"/>
                  </a:moveTo>
                  <a:cubicBezTo>
                    <a:pt x="71" y="122"/>
                    <a:pt x="71" y="121"/>
                    <a:pt x="71" y="118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9"/>
                    <a:pt x="71" y="19"/>
                    <a:pt x="73" y="18"/>
                  </a:cubicBezTo>
                  <a:cubicBezTo>
                    <a:pt x="76" y="17"/>
                    <a:pt x="81" y="17"/>
                    <a:pt x="90" y="17"/>
                  </a:cubicBezTo>
                  <a:cubicBezTo>
                    <a:pt x="107" y="17"/>
                    <a:pt x="137" y="29"/>
                    <a:pt x="137" y="74"/>
                  </a:cubicBezTo>
                  <a:cubicBezTo>
                    <a:pt x="137" y="103"/>
                    <a:pt x="126" y="115"/>
                    <a:pt x="119" y="120"/>
                  </a:cubicBezTo>
                  <a:cubicBezTo>
                    <a:pt x="113" y="124"/>
                    <a:pt x="109" y="126"/>
                    <a:pt x="97" y="126"/>
                  </a:cubicBezTo>
                  <a:cubicBezTo>
                    <a:pt x="88" y="126"/>
                    <a:pt x="79" y="125"/>
                    <a:pt x="73" y="123"/>
                  </a:cubicBezTo>
                  <a:moveTo>
                    <a:pt x="74" y="1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1"/>
                    <a:pt x="0" y="4"/>
                  </a:cubicBezTo>
                  <a:cubicBezTo>
                    <a:pt x="0" y="8"/>
                    <a:pt x="4" y="8"/>
                    <a:pt x="6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9" y="11"/>
                    <a:pt x="31" y="16"/>
                    <a:pt x="31" y="26"/>
                  </a:cubicBezTo>
                  <a:cubicBezTo>
                    <a:pt x="32" y="36"/>
                    <a:pt x="32" y="45"/>
                    <a:pt x="32" y="93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77"/>
                    <a:pt x="32" y="202"/>
                    <a:pt x="30" y="215"/>
                  </a:cubicBezTo>
                  <a:cubicBezTo>
                    <a:pt x="29" y="224"/>
                    <a:pt x="28" y="231"/>
                    <a:pt x="22" y="232"/>
                  </a:cubicBezTo>
                  <a:cubicBezTo>
                    <a:pt x="11" y="233"/>
                    <a:pt x="11" y="233"/>
                    <a:pt x="11" y="233"/>
                  </a:cubicBezTo>
                  <a:cubicBezTo>
                    <a:pt x="8" y="233"/>
                    <a:pt x="5" y="234"/>
                    <a:pt x="5" y="237"/>
                  </a:cubicBezTo>
                  <a:cubicBezTo>
                    <a:pt x="5" y="241"/>
                    <a:pt x="10" y="241"/>
                    <a:pt x="12" y="241"/>
                  </a:cubicBezTo>
                  <a:cubicBezTo>
                    <a:pt x="38" y="240"/>
                    <a:pt x="38" y="240"/>
                    <a:pt x="38" y="240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61" y="240"/>
                    <a:pt x="61" y="240"/>
                    <a:pt x="61" y="240"/>
                  </a:cubicBezTo>
                  <a:cubicBezTo>
                    <a:pt x="97" y="241"/>
                    <a:pt x="97" y="241"/>
                    <a:pt x="97" y="241"/>
                  </a:cubicBezTo>
                  <a:cubicBezTo>
                    <a:pt x="99" y="241"/>
                    <a:pt x="104" y="241"/>
                    <a:pt x="104" y="237"/>
                  </a:cubicBezTo>
                  <a:cubicBezTo>
                    <a:pt x="104" y="236"/>
                    <a:pt x="103" y="233"/>
                    <a:pt x="99" y="233"/>
                  </a:cubicBezTo>
                  <a:cubicBezTo>
                    <a:pt x="84" y="232"/>
                    <a:pt x="84" y="232"/>
                    <a:pt x="84" y="232"/>
                  </a:cubicBezTo>
                  <a:cubicBezTo>
                    <a:pt x="76" y="231"/>
                    <a:pt x="73" y="225"/>
                    <a:pt x="72" y="215"/>
                  </a:cubicBezTo>
                  <a:cubicBezTo>
                    <a:pt x="71" y="202"/>
                    <a:pt x="71" y="177"/>
                    <a:pt x="71" y="148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2"/>
                    <a:pt x="71" y="142"/>
                    <a:pt x="73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2" y="142"/>
                    <a:pt x="104" y="143"/>
                    <a:pt x="105" y="144"/>
                  </a:cubicBezTo>
                  <a:cubicBezTo>
                    <a:pt x="105" y="144"/>
                    <a:pt x="120" y="165"/>
                    <a:pt x="120" y="165"/>
                  </a:cubicBezTo>
                  <a:cubicBezTo>
                    <a:pt x="136" y="188"/>
                    <a:pt x="136" y="188"/>
                    <a:pt x="136" y="188"/>
                  </a:cubicBezTo>
                  <a:cubicBezTo>
                    <a:pt x="155" y="213"/>
                    <a:pt x="166" y="227"/>
                    <a:pt x="180" y="234"/>
                  </a:cubicBezTo>
                  <a:cubicBezTo>
                    <a:pt x="188" y="239"/>
                    <a:pt x="197" y="241"/>
                    <a:pt x="214" y="241"/>
                  </a:cubicBezTo>
                  <a:cubicBezTo>
                    <a:pt x="244" y="241"/>
                    <a:pt x="244" y="241"/>
                    <a:pt x="244" y="241"/>
                  </a:cubicBezTo>
                  <a:cubicBezTo>
                    <a:pt x="246" y="241"/>
                    <a:pt x="251" y="241"/>
                    <a:pt x="251" y="237"/>
                  </a:cubicBezTo>
                  <a:cubicBezTo>
                    <a:pt x="251" y="236"/>
                    <a:pt x="250" y="233"/>
                    <a:pt x="246" y="233"/>
                  </a:cubicBezTo>
                  <a:cubicBezTo>
                    <a:pt x="237" y="232"/>
                    <a:pt x="237" y="232"/>
                    <a:pt x="237" y="232"/>
                  </a:cubicBezTo>
                  <a:cubicBezTo>
                    <a:pt x="232" y="231"/>
                    <a:pt x="220" y="229"/>
                    <a:pt x="202" y="211"/>
                  </a:cubicBezTo>
                  <a:cubicBezTo>
                    <a:pt x="186" y="194"/>
                    <a:pt x="168" y="171"/>
                    <a:pt x="145" y="142"/>
                  </a:cubicBezTo>
                  <a:cubicBezTo>
                    <a:pt x="145" y="142"/>
                    <a:pt x="135" y="130"/>
                    <a:pt x="134" y="129"/>
                  </a:cubicBezTo>
                  <a:cubicBezTo>
                    <a:pt x="163" y="105"/>
                    <a:pt x="176" y="84"/>
                    <a:pt x="176" y="58"/>
                  </a:cubicBezTo>
                  <a:cubicBezTo>
                    <a:pt x="176" y="35"/>
                    <a:pt x="162" y="19"/>
                    <a:pt x="154" y="14"/>
                  </a:cubicBezTo>
                  <a:cubicBezTo>
                    <a:pt x="136" y="2"/>
                    <a:pt x="115" y="0"/>
                    <a:pt x="96" y="0"/>
                  </a:cubicBezTo>
                  <a:lnTo>
                    <a:pt x="7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0" name="Freeform 29">
              <a:extLst>
                <a:ext uri="{FF2B5EF4-FFF2-40B4-BE49-F238E27FC236}">
                  <a16:creationId xmlns:a16="http://schemas.microsoft.com/office/drawing/2014/main" id="{06799FB9-D454-4BA8-BE06-D63F5AA026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0" y="2737"/>
              <a:ext cx="180" cy="169"/>
            </a:xfrm>
            <a:custGeom>
              <a:avLst/>
              <a:gdLst>
                <a:gd name="T0" fmla="*/ 31 w 266"/>
                <a:gd name="T1" fmla="*/ 12 h 249"/>
                <a:gd name="T2" fmla="*/ 29 w 266"/>
                <a:gd name="T3" fmla="*/ 198 h 249"/>
                <a:gd name="T4" fmla="*/ 19 w 266"/>
                <a:gd name="T5" fmla="*/ 237 h 249"/>
                <a:gd name="T6" fmla="*/ 5 w 266"/>
                <a:gd name="T7" fmla="*/ 238 h 249"/>
                <a:gd name="T8" fmla="*/ 0 w 266"/>
                <a:gd name="T9" fmla="*/ 242 h 249"/>
                <a:gd name="T10" fmla="*/ 7 w 266"/>
                <a:gd name="T11" fmla="*/ 246 h 249"/>
                <a:gd name="T12" fmla="*/ 36 w 266"/>
                <a:gd name="T13" fmla="*/ 245 h 249"/>
                <a:gd name="T14" fmla="*/ 41 w 266"/>
                <a:gd name="T15" fmla="*/ 245 h 249"/>
                <a:gd name="T16" fmla="*/ 50 w 266"/>
                <a:gd name="T17" fmla="*/ 245 h 249"/>
                <a:gd name="T18" fmla="*/ 80 w 266"/>
                <a:gd name="T19" fmla="*/ 246 h 249"/>
                <a:gd name="T20" fmla="*/ 88 w 266"/>
                <a:gd name="T21" fmla="*/ 242 h 249"/>
                <a:gd name="T22" fmla="*/ 82 w 266"/>
                <a:gd name="T23" fmla="*/ 238 h 249"/>
                <a:gd name="T24" fmla="*/ 66 w 266"/>
                <a:gd name="T25" fmla="*/ 236 h 249"/>
                <a:gd name="T26" fmla="*/ 56 w 266"/>
                <a:gd name="T27" fmla="*/ 202 h 249"/>
                <a:gd name="T28" fmla="*/ 52 w 266"/>
                <a:gd name="T29" fmla="*/ 71 h 249"/>
                <a:gd name="T30" fmla="*/ 59 w 266"/>
                <a:gd name="T31" fmla="*/ 77 h 249"/>
                <a:gd name="T32" fmla="*/ 127 w 266"/>
                <a:gd name="T33" fmla="*/ 149 h 249"/>
                <a:gd name="T34" fmla="*/ 169 w 266"/>
                <a:gd name="T35" fmla="*/ 191 h 249"/>
                <a:gd name="T36" fmla="*/ 220 w 266"/>
                <a:gd name="T37" fmla="*/ 242 h 249"/>
                <a:gd name="T38" fmla="*/ 231 w 266"/>
                <a:gd name="T39" fmla="*/ 249 h 249"/>
                <a:gd name="T40" fmla="*/ 236 w 266"/>
                <a:gd name="T41" fmla="*/ 239 h 249"/>
                <a:gd name="T42" fmla="*/ 240 w 266"/>
                <a:gd name="T43" fmla="*/ 40 h 249"/>
                <a:gd name="T44" fmla="*/ 251 w 266"/>
                <a:gd name="T45" fmla="*/ 14 h 249"/>
                <a:gd name="T46" fmla="*/ 260 w 266"/>
                <a:gd name="T47" fmla="*/ 13 h 249"/>
                <a:gd name="T48" fmla="*/ 266 w 266"/>
                <a:gd name="T49" fmla="*/ 9 h 249"/>
                <a:gd name="T50" fmla="*/ 258 w 266"/>
                <a:gd name="T51" fmla="*/ 5 h 249"/>
                <a:gd name="T52" fmla="*/ 233 w 266"/>
                <a:gd name="T53" fmla="*/ 6 h 249"/>
                <a:gd name="T54" fmla="*/ 227 w 266"/>
                <a:gd name="T55" fmla="*/ 6 h 249"/>
                <a:gd name="T56" fmla="*/ 216 w 266"/>
                <a:gd name="T57" fmla="*/ 6 h 249"/>
                <a:gd name="T58" fmla="*/ 189 w 266"/>
                <a:gd name="T59" fmla="*/ 5 h 249"/>
                <a:gd name="T60" fmla="*/ 180 w 266"/>
                <a:gd name="T61" fmla="*/ 9 h 249"/>
                <a:gd name="T62" fmla="*/ 186 w 266"/>
                <a:gd name="T63" fmla="*/ 13 h 249"/>
                <a:gd name="T64" fmla="*/ 203 w 266"/>
                <a:gd name="T65" fmla="*/ 15 h 249"/>
                <a:gd name="T66" fmla="*/ 213 w 266"/>
                <a:gd name="T67" fmla="*/ 42 h 249"/>
                <a:gd name="T68" fmla="*/ 216 w 266"/>
                <a:gd name="T69" fmla="*/ 183 h 249"/>
                <a:gd name="T70" fmla="*/ 215 w 266"/>
                <a:gd name="T71" fmla="*/ 183 h 249"/>
                <a:gd name="T72" fmla="*/ 193 w 266"/>
                <a:gd name="T73" fmla="*/ 160 h 249"/>
                <a:gd name="T74" fmla="*/ 146 w 266"/>
                <a:gd name="T75" fmla="*/ 111 h 249"/>
                <a:gd name="T76" fmla="*/ 49 w 266"/>
                <a:gd name="T77" fmla="*/ 10 h 249"/>
                <a:gd name="T78" fmla="*/ 46 w 266"/>
                <a:gd name="T79" fmla="*/ 7 h 249"/>
                <a:gd name="T80" fmla="*/ 36 w 266"/>
                <a:gd name="T81" fmla="*/ 0 h 249"/>
                <a:gd name="T82" fmla="*/ 31 w 266"/>
                <a:gd name="T83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6" h="249">
                  <a:moveTo>
                    <a:pt x="31" y="12"/>
                  </a:moveTo>
                  <a:cubicBezTo>
                    <a:pt x="29" y="198"/>
                    <a:pt x="29" y="198"/>
                    <a:pt x="29" y="198"/>
                  </a:cubicBezTo>
                  <a:cubicBezTo>
                    <a:pt x="28" y="226"/>
                    <a:pt x="27" y="234"/>
                    <a:pt x="19" y="237"/>
                  </a:cubicBezTo>
                  <a:cubicBezTo>
                    <a:pt x="15" y="238"/>
                    <a:pt x="9" y="238"/>
                    <a:pt x="5" y="238"/>
                  </a:cubicBezTo>
                  <a:cubicBezTo>
                    <a:pt x="4" y="238"/>
                    <a:pt x="0" y="238"/>
                    <a:pt x="0" y="242"/>
                  </a:cubicBezTo>
                  <a:cubicBezTo>
                    <a:pt x="0" y="246"/>
                    <a:pt x="4" y="246"/>
                    <a:pt x="7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3" y="246"/>
                    <a:pt x="88" y="246"/>
                    <a:pt x="88" y="242"/>
                  </a:cubicBezTo>
                  <a:cubicBezTo>
                    <a:pt x="88" y="238"/>
                    <a:pt x="84" y="238"/>
                    <a:pt x="82" y="238"/>
                  </a:cubicBezTo>
                  <a:cubicBezTo>
                    <a:pt x="78" y="238"/>
                    <a:pt x="72" y="238"/>
                    <a:pt x="66" y="236"/>
                  </a:cubicBezTo>
                  <a:cubicBezTo>
                    <a:pt x="59" y="234"/>
                    <a:pt x="56" y="223"/>
                    <a:pt x="56" y="202"/>
                  </a:cubicBezTo>
                  <a:cubicBezTo>
                    <a:pt x="56" y="202"/>
                    <a:pt x="52" y="74"/>
                    <a:pt x="52" y="71"/>
                  </a:cubicBezTo>
                  <a:cubicBezTo>
                    <a:pt x="54" y="72"/>
                    <a:pt x="59" y="77"/>
                    <a:pt x="59" y="77"/>
                  </a:cubicBezTo>
                  <a:cubicBezTo>
                    <a:pt x="72" y="92"/>
                    <a:pt x="100" y="122"/>
                    <a:pt x="127" y="149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4" y="246"/>
                    <a:pt x="227" y="249"/>
                    <a:pt x="231" y="249"/>
                  </a:cubicBezTo>
                  <a:cubicBezTo>
                    <a:pt x="236" y="249"/>
                    <a:pt x="236" y="244"/>
                    <a:pt x="236" y="239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22"/>
                    <a:pt x="242" y="16"/>
                    <a:pt x="251" y="14"/>
                  </a:cubicBezTo>
                  <a:cubicBezTo>
                    <a:pt x="251" y="14"/>
                    <a:pt x="260" y="13"/>
                    <a:pt x="260" y="13"/>
                  </a:cubicBezTo>
                  <a:cubicBezTo>
                    <a:pt x="264" y="13"/>
                    <a:pt x="266" y="11"/>
                    <a:pt x="266" y="9"/>
                  </a:cubicBezTo>
                  <a:cubicBezTo>
                    <a:pt x="266" y="5"/>
                    <a:pt x="262" y="5"/>
                    <a:pt x="258" y="5"/>
                  </a:cubicBezTo>
                  <a:cubicBezTo>
                    <a:pt x="233" y="6"/>
                    <a:pt x="233" y="6"/>
                    <a:pt x="233" y="6"/>
                  </a:cubicBezTo>
                  <a:cubicBezTo>
                    <a:pt x="227" y="6"/>
                    <a:pt x="227" y="6"/>
                    <a:pt x="227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85" y="5"/>
                    <a:pt x="180" y="5"/>
                    <a:pt x="180" y="9"/>
                  </a:cubicBezTo>
                  <a:cubicBezTo>
                    <a:pt x="180" y="12"/>
                    <a:pt x="183" y="13"/>
                    <a:pt x="186" y="13"/>
                  </a:cubicBezTo>
                  <a:cubicBezTo>
                    <a:pt x="191" y="13"/>
                    <a:pt x="198" y="13"/>
                    <a:pt x="203" y="15"/>
                  </a:cubicBezTo>
                  <a:cubicBezTo>
                    <a:pt x="209" y="17"/>
                    <a:pt x="212" y="22"/>
                    <a:pt x="213" y="42"/>
                  </a:cubicBezTo>
                  <a:cubicBezTo>
                    <a:pt x="213" y="42"/>
                    <a:pt x="216" y="175"/>
                    <a:pt x="216" y="183"/>
                  </a:cubicBezTo>
                  <a:cubicBezTo>
                    <a:pt x="215" y="183"/>
                    <a:pt x="215" y="183"/>
                    <a:pt x="215" y="183"/>
                  </a:cubicBezTo>
                  <a:cubicBezTo>
                    <a:pt x="215" y="183"/>
                    <a:pt x="193" y="160"/>
                    <a:pt x="193" y="160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98" y="64"/>
                    <a:pt x="49" y="11"/>
                    <a:pt x="49" y="1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2" y="3"/>
                    <a:pt x="39" y="0"/>
                    <a:pt x="36" y="0"/>
                  </a:cubicBezTo>
                  <a:cubicBezTo>
                    <a:pt x="32" y="0"/>
                    <a:pt x="31" y="7"/>
                    <a:pt x="31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1" name="Freeform 30">
              <a:extLst>
                <a:ext uri="{FF2B5EF4-FFF2-40B4-BE49-F238E27FC236}">
                  <a16:creationId xmlns:a16="http://schemas.microsoft.com/office/drawing/2014/main" id="{7008FF3F-A864-4BB1-B427-9814155007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0" y="2739"/>
              <a:ext cx="109" cy="165"/>
            </a:xfrm>
            <a:custGeom>
              <a:avLst/>
              <a:gdLst>
                <a:gd name="T0" fmla="*/ 147 w 161"/>
                <a:gd name="T1" fmla="*/ 1 h 243"/>
                <a:gd name="T2" fmla="*/ 145 w 161"/>
                <a:gd name="T3" fmla="*/ 1 h 243"/>
                <a:gd name="T4" fmla="*/ 132 w 161"/>
                <a:gd name="T5" fmla="*/ 3 h 243"/>
                <a:gd name="T6" fmla="*/ 53 w 161"/>
                <a:gd name="T7" fmla="*/ 3 h 243"/>
                <a:gd name="T8" fmla="*/ 37 w 161"/>
                <a:gd name="T9" fmla="*/ 3 h 243"/>
                <a:gd name="T10" fmla="*/ 33 w 161"/>
                <a:gd name="T11" fmla="*/ 3 h 243"/>
                <a:gd name="T12" fmla="*/ 8 w 161"/>
                <a:gd name="T13" fmla="*/ 2 h 243"/>
                <a:gd name="T14" fmla="*/ 0 w 161"/>
                <a:gd name="T15" fmla="*/ 6 h 243"/>
                <a:gd name="T16" fmla="*/ 6 w 161"/>
                <a:gd name="T17" fmla="*/ 10 h 243"/>
                <a:gd name="T18" fmla="*/ 18 w 161"/>
                <a:gd name="T19" fmla="*/ 11 h 243"/>
                <a:gd name="T20" fmla="*/ 31 w 161"/>
                <a:gd name="T21" fmla="*/ 28 h 243"/>
                <a:gd name="T22" fmla="*/ 32 w 161"/>
                <a:gd name="T23" fmla="*/ 95 h 243"/>
                <a:gd name="T24" fmla="*/ 32 w 161"/>
                <a:gd name="T25" fmla="*/ 150 h 243"/>
                <a:gd name="T26" fmla="*/ 30 w 161"/>
                <a:gd name="T27" fmla="*/ 217 h 243"/>
                <a:gd name="T28" fmla="*/ 22 w 161"/>
                <a:gd name="T29" fmla="*/ 234 h 243"/>
                <a:gd name="T30" fmla="*/ 11 w 161"/>
                <a:gd name="T31" fmla="*/ 235 h 243"/>
                <a:gd name="T32" fmla="*/ 5 w 161"/>
                <a:gd name="T33" fmla="*/ 239 h 243"/>
                <a:gd name="T34" fmla="*/ 12 w 161"/>
                <a:gd name="T35" fmla="*/ 243 h 243"/>
                <a:gd name="T36" fmla="*/ 34 w 161"/>
                <a:gd name="T37" fmla="*/ 242 h 243"/>
                <a:gd name="T38" fmla="*/ 52 w 161"/>
                <a:gd name="T39" fmla="*/ 242 h 243"/>
                <a:gd name="T40" fmla="*/ 84 w 161"/>
                <a:gd name="T41" fmla="*/ 243 h 243"/>
                <a:gd name="T42" fmla="*/ 94 w 161"/>
                <a:gd name="T43" fmla="*/ 243 h 243"/>
                <a:gd name="T44" fmla="*/ 139 w 161"/>
                <a:gd name="T45" fmla="*/ 243 h 243"/>
                <a:gd name="T46" fmla="*/ 157 w 161"/>
                <a:gd name="T47" fmla="*/ 235 h 243"/>
                <a:gd name="T48" fmla="*/ 161 w 161"/>
                <a:gd name="T49" fmla="*/ 199 h 243"/>
                <a:gd name="T50" fmla="*/ 158 w 161"/>
                <a:gd name="T51" fmla="*/ 193 h 243"/>
                <a:gd name="T52" fmla="*/ 153 w 161"/>
                <a:gd name="T53" fmla="*/ 198 h 243"/>
                <a:gd name="T54" fmla="*/ 140 w 161"/>
                <a:gd name="T55" fmla="*/ 221 h 243"/>
                <a:gd name="T56" fmla="*/ 110 w 161"/>
                <a:gd name="T57" fmla="*/ 225 h 243"/>
                <a:gd name="T58" fmla="*/ 73 w 161"/>
                <a:gd name="T59" fmla="*/ 199 h 243"/>
                <a:gd name="T60" fmla="*/ 73 w 161"/>
                <a:gd name="T61" fmla="*/ 163 h 243"/>
                <a:gd name="T62" fmla="*/ 73 w 161"/>
                <a:gd name="T63" fmla="*/ 150 h 243"/>
                <a:gd name="T64" fmla="*/ 73 w 161"/>
                <a:gd name="T65" fmla="*/ 125 h 243"/>
                <a:gd name="T66" fmla="*/ 74 w 161"/>
                <a:gd name="T67" fmla="*/ 123 h 243"/>
                <a:gd name="T68" fmla="*/ 119 w 161"/>
                <a:gd name="T69" fmla="*/ 124 h 243"/>
                <a:gd name="T70" fmla="*/ 136 w 161"/>
                <a:gd name="T71" fmla="*/ 136 h 243"/>
                <a:gd name="T72" fmla="*/ 137 w 161"/>
                <a:gd name="T73" fmla="*/ 144 h 243"/>
                <a:gd name="T74" fmla="*/ 137 w 161"/>
                <a:gd name="T75" fmla="*/ 147 h 243"/>
                <a:gd name="T76" fmla="*/ 141 w 161"/>
                <a:gd name="T77" fmla="*/ 150 h 243"/>
                <a:gd name="T78" fmla="*/ 144 w 161"/>
                <a:gd name="T79" fmla="*/ 144 h 243"/>
                <a:gd name="T80" fmla="*/ 145 w 161"/>
                <a:gd name="T81" fmla="*/ 133 h 243"/>
                <a:gd name="T82" fmla="*/ 146 w 161"/>
                <a:gd name="T83" fmla="*/ 123 h 243"/>
                <a:gd name="T84" fmla="*/ 148 w 161"/>
                <a:gd name="T85" fmla="*/ 103 h 243"/>
                <a:gd name="T86" fmla="*/ 148 w 161"/>
                <a:gd name="T87" fmla="*/ 99 h 243"/>
                <a:gd name="T88" fmla="*/ 145 w 161"/>
                <a:gd name="T89" fmla="*/ 96 h 243"/>
                <a:gd name="T90" fmla="*/ 140 w 161"/>
                <a:gd name="T91" fmla="*/ 100 h 243"/>
                <a:gd name="T92" fmla="*/ 125 w 161"/>
                <a:gd name="T93" fmla="*/ 105 h 243"/>
                <a:gd name="T94" fmla="*/ 75 w 161"/>
                <a:gd name="T95" fmla="*/ 106 h 243"/>
                <a:gd name="T96" fmla="*/ 73 w 161"/>
                <a:gd name="T97" fmla="*/ 103 h 243"/>
                <a:gd name="T98" fmla="*/ 73 w 161"/>
                <a:gd name="T99" fmla="*/ 23 h 243"/>
                <a:gd name="T100" fmla="*/ 75 w 161"/>
                <a:gd name="T101" fmla="*/ 21 h 243"/>
                <a:gd name="T102" fmla="*/ 119 w 161"/>
                <a:gd name="T103" fmla="*/ 22 h 243"/>
                <a:gd name="T104" fmla="*/ 140 w 161"/>
                <a:gd name="T105" fmla="*/ 33 h 243"/>
                <a:gd name="T106" fmla="*/ 142 w 161"/>
                <a:gd name="T107" fmla="*/ 44 h 243"/>
                <a:gd name="T108" fmla="*/ 145 w 161"/>
                <a:gd name="T109" fmla="*/ 49 h 243"/>
                <a:gd name="T110" fmla="*/ 149 w 161"/>
                <a:gd name="T111" fmla="*/ 45 h 243"/>
                <a:gd name="T112" fmla="*/ 150 w 161"/>
                <a:gd name="T113" fmla="*/ 31 h 243"/>
                <a:gd name="T114" fmla="*/ 151 w 161"/>
                <a:gd name="T115" fmla="*/ 24 h 243"/>
                <a:gd name="T116" fmla="*/ 153 w 161"/>
                <a:gd name="T117" fmla="*/ 7 h 243"/>
                <a:gd name="T118" fmla="*/ 153 w 161"/>
                <a:gd name="T119" fmla="*/ 4 h 243"/>
                <a:gd name="T120" fmla="*/ 151 w 161"/>
                <a:gd name="T121" fmla="*/ 0 h 243"/>
                <a:gd name="T122" fmla="*/ 147 w 161"/>
                <a:gd name="T123" fmla="*/ 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43">
                  <a:moveTo>
                    <a:pt x="147" y="1"/>
                  </a:move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32" y="3"/>
                    <a:pt x="132" y="3"/>
                  </a:cubicBezTo>
                  <a:cubicBezTo>
                    <a:pt x="127" y="3"/>
                    <a:pt x="75" y="3"/>
                    <a:pt x="53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8" y="2"/>
                    <a:pt x="8" y="2"/>
                  </a:cubicBezTo>
                  <a:cubicBezTo>
                    <a:pt x="4" y="2"/>
                    <a:pt x="0" y="3"/>
                    <a:pt x="0" y="6"/>
                  </a:cubicBezTo>
                  <a:cubicBezTo>
                    <a:pt x="0" y="10"/>
                    <a:pt x="4" y="10"/>
                    <a:pt x="6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9" y="13"/>
                    <a:pt x="31" y="18"/>
                    <a:pt x="31" y="28"/>
                  </a:cubicBezTo>
                  <a:cubicBezTo>
                    <a:pt x="32" y="38"/>
                    <a:pt x="32" y="47"/>
                    <a:pt x="32" y="95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79"/>
                    <a:pt x="32" y="204"/>
                    <a:pt x="30" y="217"/>
                  </a:cubicBezTo>
                  <a:cubicBezTo>
                    <a:pt x="29" y="226"/>
                    <a:pt x="28" y="233"/>
                    <a:pt x="22" y="234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8" y="235"/>
                    <a:pt x="5" y="236"/>
                    <a:pt x="5" y="239"/>
                  </a:cubicBezTo>
                  <a:cubicBezTo>
                    <a:pt x="5" y="243"/>
                    <a:pt x="10" y="243"/>
                    <a:pt x="12" y="243"/>
                  </a:cubicBezTo>
                  <a:cubicBezTo>
                    <a:pt x="34" y="242"/>
                    <a:pt x="34" y="242"/>
                    <a:pt x="34" y="242"/>
                  </a:cubicBezTo>
                  <a:cubicBezTo>
                    <a:pt x="34" y="242"/>
                    <a:pt x="52" y="242"/>
                    <a:pt x="52" y="242"/>
                  </a:cubicBezTo>
                  <a:cubicBezTo>
                    <a:pt x="84" y="243"/>
                    <a:pt x="84" y="243"/>
                    <a:pt x="84" y="243"/>
                  </a:cubicBezTo>
                  <a:cubicBezTo>
                    <a:pt x="94" y="243"/>
                    <a:pt x="94" y="243"/>
                    <a:pt x="94" y="243"/>
                  </a:cubicBezTo>
                  <a:cubicBezTo>
                    <a:pt x="139" y="243"/>
                    <a:pt x="139" y="243"/>
                    <a:pt x="139" y="243"/>
                  </a:cubicBezTo>
                  <a:cubicBezTo>
                    <a:pt x="151" y="243"/>
                    <a:pt x="154" y="243"/>
                    <a:pt x="157" y="235"/>
                  </a:cubicBezTo>
                  <a:cubicBezTo>
                    <a:pt x="158" y="228"/>
                    <a:pt x="161" y="207"/>
                    <a:pt x="161" y="199"/>
                  </a:cubicBezTo>
                  <a:cubicBezTo>
                    <a:pt x="161" y="196"/>
                    <a:pt x="161" y="193"/>
                    <a:pt x="158" y="193"/>
                  </a:cubicBezTo>
                  <a:cubicBezTo>
                    <a:pt x="155" y="193"/>
                    <a:pt x="154" y="195"/>
                    <a:pt x="153" y="198"/>
                  </a:cubicBezTo>
                  <a:cubicBezTo>
                    <a:pt x="151" y="211"/>
                    <a:pt x="147" y="218"/>
                    <a:pt x="140" y="221"/>
                  </a:cubicBezTo>
                  <a:cubicBezTo>
                    <a:pt x="132" y="225"/>
                    <a:pt x="118" y="225"/>
                    <a:pt x="110" y="225"/>
                  </a:cubicBezTo>
                  <a:cubicBezTo>
                    <a:pt x="78" y="225"/>
                    <a:pt x="74" y="220"/>
                    <a:pt x="73" y="199"/>
                  </a:cubicBezTo>
                  <a:cubicBezTo>
                    <a:pt x="73" y="163"/>
                    <a:pt x="73" y="163"/>
                    <a:pt x="73" y="163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3"/>
                    <a:pt x="74" y="123"/>
                    <a:pt x="74" y="123"/>
                  </a:cubicBezTo>
                  <a:cubicBezTo>
                    <a:pt x="81" y="123"/>
                    <a:pt x="113" y="123"/>
                    <a:pt x="119" y="124"/>
                  </a:cubicBezTo>
                  <a:cubicBezTo>
                    <a:pt x="129" y="125"/>
                    <a:pt x="134" y="129"/>
                    <a:pt x="136" y="13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9"/>
                    <a:pt x="139" y="150"/>
                    <a:pt x="141" y="150"/>
                  </a:cubicBezTo>
                  <a:cubicBezTo>
                    <a:pt x="144" y="150"/>
                    <a:pt x="144" y="146"/>
                    <a:pt x="144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7"/>
                    <a:pt x="147" y="96"/>
                    <a:pt x="145" y="96"/>
                  </a:cubicBezTo>
                  <a:cubicBezTo>
                    <a:pt x="143" y="96"/>
                    <a:pt x="142" y="98"/>
                    <a:pt x="140" y="100"/>
                  </a:cubicBezTo>
                  <a:cubicBezTo>
                    <a:pt x="137" y="103"/>
                    <a:pt x="132" y="104"/>
                    <a:pt x="125" y="105"/>
                  </a:cubicBezTo>
                  <a:cubicBezTo>
                    <a:pt x="120" y="105"/>
                    <a:pt x="102" y="106"/>
                    <a:pt x="75" y="106"/>
                  </a:cubicBezTo>
                  <a:cubicBezTo>
                    <a:pt x="74" y="106"/>
                    <a:pt x="73" y="105"/>
                    <a:pt x="73" y="10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1"/>
                    <a:pt x="74" y="21"/>
                    <a:pt x="75" y="21"/>
                  </a:cubicBezTo>
                  <a:cubicBezTo>
                    <a:pt x="81" y="21"/>
                    <a:pt x="114" y="21"/>
                    <a:pt x="119" y="22"/>
                  </a:cubicBezTo>
                  <a:cubicBezTo>
                    <a:pt x="135" y="24"/>
                    <a:pt x="138" y="28"/>
                    <a:pt x="140" y="33"/>
                  </a:cubicBezTo>
                  <a:cubicBezTo>
                    <a:pt x="142" y="37"/>
                    <a:pt x="142" y="43"/>
                    <a:pt x="142" y="44"/>
                  </a:cubicBezTo>
                  <a:cubicBezTo>
                    <a:pt x="142" y="46"/>
                    <a:pt x="142" y="49"/>
                    <a:pt x="145" y="49"/>
                  </a:cubicBezTo>
                  <a:cubicBezTo>
                    <a:pt x="148" y="49"/>
                    <a:pt x="149" y="46"/>
                    <a:pt x="149" y="45"/>
                  </a:cubicBezTo>
                  <a:cubicBezTo>
                    <a:pt x="149" y="45"/>
                    <a:pt x="150" y="31"/>
                    <a:pt x="150" y="31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3" y="7"/>
                    <a:pt x="153" y="7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1"/>
                    <a:pt x="152" y="0"/>
                    <a:pt x="151" y="0"/>
                  </a:cubicBezTo>
                  <a:lnTo>
                    <a:pt x="14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2" name="Freeform 31">
              <a:extLst>
                <a:ext uri="{FF2B5EF4-FFF2-40B4-BE49-F238E27FC236}">
                  <a16:creationId xmlns:a16="http://schemas.microsoft.com/office/drawing/2014/main" id="{8B5037F0-67D4-4DD7-9C80-01341154AC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3" y="1396"/>
              <a:ext cx="862" cy="953"/>
            </a:xfrm>
            <a:custGeom>
              <a:avLst/>
              <a:gdLst>
                <a:gd name="T0" fmla="*/ 420 w 1271"/>
                <a:gd name="T1" fmla="*/ 1289 h 1401"/>
                <a:gd name="T2" fmla="*/ 381 w 1271"/>
                <a:gd name="T3" fmla="*/ 1274 h 1401"/>
                <a:gd name="T4" fmla="*/ 367 w 1271"/>
                <a:gd name="T5" fmla="*/ 1268 h 1401"/>
                <a:gd name="T6" fmla="*/ 29 w 1271"/>
                <a:gd name="T7" fmla="*/ 813 h 1401"/>
                <a:gd name="T8" fmla="*/ 34 w 1271"/>
                <a:gd name="T9" fmla="*/ 686 h 1401"/>
                <a:gd name="T10" fmla="*/ 62 w 1271"/>
                <a:gd name="T11" fmla="*/ 509 h 1401"/>
                <a:gd name="T12" fmla="*/ 67 w 1271"/>
                <a:gd name="T13" fmla="*/ 483 h 1401"/>
                <a:gd name="T14" fmla="*/ 68 w 1271"/>
                <a:gd name="T15" fmla="*/ 431 h 1401"/>
                <a:gd name="T16" fmla="*/ 6 w 1271"/>
                <a:gd name="T17" fmla="*/ 277 h 1401"/>
                <a:gd name="T18" fmla="*/ 92 w 1271"/>
                <a:gd name="T19" fmla="*/ 152 h 1401"/>
                <a:gd name="T20" fmla="*/ 77 w 1271"/>
                <a:gd name="T21" fmla="*/ 119 h 1401"/>
                <a:gd name="T22" fmla="*/ 89 w 1271"/>
                <a:gd name="T23" fmla="*/ 110 h 1401"/>
                <a:gd name="T24" fmla="*/ 118 w 1271"/>
                <a:gd name="T25" fmla="*/ 119 h 1401"/>
                <a:gd name="T26" fmla="*/ 213 w 1271"/>
                <a:gd name="T27" fmla="*/ 7 h 1401"/>
                <a:gd name="T28" fmla="*/ 374 w 1271"/>
                <a:gd name="T29" fmla="*/ 43 h 1401"/>
                <a:gd name="T30" fmla="*/ 541 w 1271"/>
                <a:gd name="T31" fmla="*/ 20 h 1401"/>
                <a:gd name="T32" fmla="*/ 604 w 1271"/>
                <a:gd name="T33" fmla="*/ 17 h 1401"/>
                <a:gd name="T34" fmla="*/ 795 w 1271"/>
                <a:gd name="T35" fmla="*/ 36 h 1401"/>
                <a:gd name="T36" fmla="*/ 913 w 1271"/>
                <a:gd name="T37" fmla="*/ 52 h 1401"/>
                <a:gd name="T38" fmla="*/ 1002 w 1271"/>
                <a:gd name="T39" fmla="*/ 15 h 1401"/>
                <a:gd name="T40" fmla="*/ 1095 w 1271"/>
                <a:gd name="T41" fmla="*/ 115 h 1401"/>
                <a:gd name="T42" fmla="*/ 1155 w 1271"/>
                <a:gd name="T43" fmla="*/ 92 h 1401"/>
                <a:gd name="T44" fmla="*/ 1248 w 1271"/>
                <a:gd name="T45" fmla="*/ 63 h 1401"/>
                <a:gd name="T46" fmla="*/ 1257 w 1271"/>
                <a:gd name="T47" fmla="*/ 75 h 1401"/>
                <a:gd name="T48" fmla="*/ 1231 w 1271"/>
                <a:gd name="T49" fmla="*/ 122 h 1401"/>
                <a:gd name="T50" fmla="*/ 1271 w 1271"/>
                <a:gd name="T51" fmla="*/ 106 h 1401"/>
                <a:gd name="T52" fmla="*/ 1212 w 1271"/>
                <a:gd name="T53" fmla="*/ 187 h 1401"/>
                <a:gd name="T54" fmla="*/ 1210 w 1271"/>
                <a:gd name="T55" fmla="*/ 195 h 1401"/>
                <a:gd name="T56" fmla="*/ 1214 w 1271"/>
                <a:gd name="T57" fmla="*/ 210 h 1401"/>
                <a:gd name="T58" fmla="*/ 1199 w 1271"/>
                <a:gd name="T59" fmla="*/ 243 h 1401"/>
                <a:gd name="T60" fmla="*/ 1218 w 1271"/>
                <a:gd name="T61" fmla="*/ 276 h 1401"/>
                <a:gd name="T62" fmla="*/ 1149 w 1271"/>
                <a:gd name="T63" fmla="*/ 434 h 1401"/>
                <a:gd name="T64" fmla="*/ 1149 w 1271"/>
                <a:gd name="T65" fmla="*/ 447 h 1401"/>
                <a:gd name="T66" fmla="*/ 1163 w 1271"/>
                <a:gd name="T67" fmla="*/ 569 h 1401"/>
                <a:gd name="T68" fmla="*/ 1183 w 1271"/>
                <a:gd name="T69" fmla="*/ 718 h 1401"/>
                <a:gd name="T70" fmla="*/ 1186 w 1271"/>
                <a:gd name="T71" fmla="*/ 798 h 1401"/>
                <a:gd name="T72" fmla="*/ 1084 w 1271"/>
                <a:gd name="T73" fmla="*/ 1103 h 1401"/>
                <a:gd name="T74" fmla="*/ 614 w 1271"/>
                <a:gd name="T75" fmla="*/ 1390 h 1401"/>
                <a:gd name="T76" fmla="*/ 611 w 1271"/>
                <a:gd name="T77" fmla="*/ 1393 h 1401"/>
                <a:gd name="T78" fmla="*/ 605 w 1271"/>
                <a:gd name="T79" fmla="*/ 1401 h 1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1" h="1401">
                  <a:moveTo>
                    <a:pt x="601" y="1396"/>
                  </a:moveTo>
                  <a:cubicBezTo>
                    <a:pt x="548" y="1344"/>
                    <a:pt x="483" y="1316"/>
                    <a:pt x="420" y="1289"/>
                  </a:cubicBezTo>
                  <a:cubicBezTo>
                    <a:pt x="415" y="1287"/>
                    <a:pt x="415" y="1287"/>
                    <a:pt x="415" y="1287"/>
                  </a:cubicBezTo>
                  <a:cubicBezTo>
                    <a:pt x="414" y="1286"/>
                    <a:pt x="381" y="1274"/>
                    <a:pt x="381" y="1274"/>
                  </a:cubicBezTo>
                  <a:cubicBezTo>
                    <a:pt x="377" y="1273"/>
                    <a:pt x="375" y="1272"/>
                    <a:pt x="373" y="1271"/>
                  </a:cubicBezTo>
                  <a:cubicBezTo>
                    <a:pt x="367" y="1268"/>
                    <a:pt x="367" y="1268"/>
                    <a:pt x="367" y="1268"/>
                  </a:cubicBezTo>
                  <a:cubicBezTo>
                    <a:pt x="367" y="1269"/>
                    <a:pt x="367" y="1269"/>
                    <a:pt x="367" y="1269"/>
                  </a:cubicBezTo>
                  <a:cubicBezTo>
                    <a:pt x="161" y="1196"/>
                    <a:pt x="35" y="1026"/>
                    <a:pt x="29" y="813"/>
                  </a:cubicBezTo>
                  <a:cubicBezTo>
                    <a:pt x="29" y="805"/>
                    <a:pt x="29" y="796"/>
                    <a:pt x="29" y="786"/>
                  </a:cubicBezTo>
                  <a:cubicBezTo>
                    <a:pt x="29" y="754"/>
                    <a:pt x="31" y="721"/>
                    <a:pt x="34" y="686"/>
                  </a:cubicBezTo>
                  <a:cubicBezTo>
                    <a:pt x="37" y="666"/>
                    <a:pt x="43" y="619"/>
                    <a:pt x="43" y="617"/>
                  </a:cubicBezTo>
                  <a:cubicBezTo>
                    <a:pt x="62" y="509"/>
                    <a:pt x="62" y="509"/>
                    <a:pt x="62" y="509"/>
                  </a:cubicBezTo>
                  <a:cubicBezTo>
                    <a:pt x="64" y="498"/>
                    <a:pt x="65" y="492"/>
                    <a:pt x="65" y="489"/>
                  </a:cubicBezTo>
                  <a:cubicBezTo>
                    <a:pt x="67" y="483"/>
                    <a:pt x="67" y="483"/>
                    <a:pt x="67" y="483"/>
                  </a:cubicBezTo>
                  <a:cubicBezTo>
                    <a:pt x="66" y="483"/>
                    <a:pt x="66" y="483"/>
                    <a:pt x="66" y="483"/>
                  </a:cubicBezTo>
                  <a:cubicBezTo>
                    <a:pt x="67" y="468"/>
                    <a:pt x="68" y="449"/>
                    <a:pt x="68" y="431"/>
                  </a:cubicBezTo>
                  <a:cubicBezTo>
                    <a:pt x="68" y="356"/>
                    <a:pt x="49" y="309"/>
                    <a:pt x="6" y="278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82" y="139"/>
                    <a:pt x="78" y="129"/>
                    <a:pt x="77" y="119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7" y="113"/>
                    <a:pt x="105" y="116"/>
                    <a:pt x="114" y="118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30" y="36"/>
                    <a:pt x="261" y="50"/>
                    <a:pt x="306" y="50"/>
                  </a:cubicBezTo>
                  <a:cubicBezTo>
                    <a:pt x="325" y="50"/>
                    <a:pt x="347" y="48"/>
                    <a:pt x="374" y="43"/>
                  </a:cubicBezTo>
                  <a:cubicBezTo>
                    <a:pt x="374" y="43"/>
                    <a:pt x="464" y="29"/>
                    <a:pt x="465" y="29"/>
                  </a:cubicBezTo>
                  <a:cubicBezTo>
                    <a:pt x="528" y="22"/>
                    <a:pt x="539" y="20"/>
                    <a:pt x="541" y="20"/>
                  </a:cubicBezTo>
                  <a:cubicBezTo>
                    <a:pt x="547" y="19"/>
                    <a:pt x="547" y="19"/>
                    <a:pt x="547" y="19"/>
                  </a:cubicBezTo>
                  <a:cubicBezTo>
                    <a:pt x="565" y="18"/>
                    <a:pt x="584" y="17"/>
                    <a:pt x="604" y="17"/>
                  </a:cubicBezTo>
                  <a:cubicBezTo>
                    <a:pt x="643" y="17"/>
                    <a:pt x="686" y="20"/>
                    <a:pt x="731" y="27"/>
                  </a:cubicBezTo>
                  <a:cubicBezTo>
                    <a:pt x="731" y="27"/>
                    <a:pt x="795" y="36"/>
                    <a:pt x="795" y="36"/>
                  </a:cubicBezTo>
                  <a:cubicBezTo>
                    <a:pt x="875" y="49"/>
                    <a:pt x="875" y="49"/>
                    <a:pt x="875" y="49"/>
                  </a:cubicBezTo>
                  <a:cubicBezTo>
                    <a:pt x="886" y="51"/>
                    <a:pt x="900" y="52"/>
                    <a:pt x="913" y="52"/>
                  </a:cubicBezTo>
                  <a:cubicBezTo>
                    <a:pt x="949" y="52"/>
                    <a:pt x="974" y="44"/>
                    <a:pt x="992" y="27"/>
                  </a:cubicBezTo>
                  <a:cubicBezTo>
                    <a:pt x="995" y="23"/>
                    <a:pt x="999" y="19"/>
                    <a:pt x="1002" y="15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95" y="115"/>
                    <a:pt x="1095" y="115"/>
                    <a:pt x="1095" y="115"/>
                  </a:cubicBezTo>
                  <a:cubicBezTo>
                    <a:pt x="1099" y="113"/>
                    <a:pt x="1099" y="113"/>
                    <a:pt x="1099" y="113"/>
                  </a:cubicBezTo>
                  <a:cubicBezTo>
                    <a:pt x="1112" y="108"/>
                    <a:pt x="1131" y="101"/>
                    <a:pt x="1155" y="92"/>
                  </a:cubicBezTo>
                  <a:cubicBezTo>
                    <a:pt x="1155" y="92"/>
                    <a:pt x="1167" y="88"/>
                    <a:pt x="1171" y="87"/>
                  </a:cubicBezTo>
                  <a:cubicBezTo>
                    <a:pt x="1202" y="75"/>
                    <a:pt x="1227" y="68"/>
                    <a:pt x="1248" y="63"/>
                  </a:cubicBezTo>
                  <a:cubicBezTo>
                    <a:pt x="1264" y="60"/>
                    <a:pt x="1264" y="60"/>
                    <a:pt x="1264" y="60"/>
                  </a:cubicBezTo>
                  <a:cubicBezTo>
                    <a:pt x="1257" y="75"/>
                    <a:pt x="1257" y="75"/>
                    <a:pt x="1257" y="75"/>
                  </a:cubicBezTo>
                  <a:cubicBezTo>
                    <a:pt x="1252" y="88"/>
                    <a:pt x="1247" y="98"/>
                    <a:pt x="1241" y="106"/>
                  </a:cubicBezTo>
                  <a:cubicBezTo>
                    <a:pt x="1231" y="122"/>
                    <a:pt x="1231" y="122"/>
                    <a:pt x="1231" y="122"/>
                  </a:cubicBezTo>
                  <a:cubicBezTo>
                    <a:pt x="1248" y="115"/>
                    <a:pt x="1248" y="115"/>
                    <a:pt x="1248" y="115"/>
                  </a:cubicBezTo>
                  <a:cubicBezTo>
                    <a:pt x="1249" y="115"/>
                    <a:pt x="1261" y="110"/>
                    <a:pt x="1271" y="106"/>
                  </a:cubicBezTo>
                  <a:cubicBezTo>
                    <a:pt x="1260" y="126"/>
                    <a:pt x="1260" y="126"/>
                    <a:pt x="1260" y="126"/>
                  </a:cubicBezTo>
                  <a:cubicBezTo>
                    <a:pt x="1254" y="137"/>
                    <a:pt x="1232" y="172"/>
                    <a:pt x="1212" y="187"/>
                  </a:cubicBezTo>
                  <a:cubicBezTo>
                    <a:pt x="1207" y="191"/>
                    <a:pt x="1207" y="191"/>
                    <a:pt x="1207" y="191"/>
                  </a:cubicBezTo>
                  <a:cubicBezTo>
                    <a:pt x="1210" y="195"/>
                    <a:pt x="1210" y="195"/>
                    <a:pt x="1210" y="195"/>
                  </a:cubicBezTo>
                  <a:cubicBezTo>
                    <a:pt x="1210" y="195"/>
                    <a:pt x="1211" y="196"/>
                    <a:pt x="1211" y="196"/>
                  </a:cubicBezTo>
                  <a:cubicBezTo>
                    <a:pt x="1213" y="199"/>
                    <a:pt x="1214" y="205"/>
                    <a:pt x="1214" y="210"/>
                  </a:cubicBezTo>
                  <a:cubicBezTo>
                    <a:pt x="1214" y="216"/>
                    <a:pt x="1213" y="221"/>
                    <a:pt x="1211" y="225"/>
                  </a:cubicBezTo>
                  <a:cubicBezTo>
                    <a:pt x="1209" y="230"/>
                    <a:pt x="1205" y="236"/>
                    <a:pt x="1199" y="243"/>
                  </a:cubicBezTo>
                  <a:cubicBezTo>
                    <a:pt x="1195" y="247"/>
                    <a:pt x="1195" y="247"/>
                    <a:pt x="1195" y="247"/>
                  </a:cubicBezTo>
                  <a:cubicBezTo>
                    <a:pt x="1218" y="276"/>
                    <a:pt x="1218" y="276"/>
                    <a:pt x="1218" y="276"/>
                  </a:cubicBezTo>
                  <a:cubicBezTo>
                    <a:pt x="1213" y="280"/>
                    <a:pt x="1213" y="280"/>
                    <a:pt x="1213" y="280"/>
                  </a:cubicBezTo>
                  <a:cubicBezTo>
                    <a:pt x="1170" y="312"/>
                    <a:pt x="1149" y="363"/>
                    <a:pt x="1149" y="434"/>
                  </a:cubicBezTo>
                  <a:cubicBezTo>
                    <a:pt x="1149" y="436"/>
                    <a:pt x="1149" y="436"/>
                    <a:pt x="1149" y="436"/>
                  </a:cubicBezTo>
                  <a:cubicBezTo>
                    <a:pt x="1149" y="440"/>
                    <a:pt x="1149" y="443"/>
                    <a:pt x="1149" y="447"/>
                  </a:cubicBezTo>
                  <a:cubicBezTo>
                    <a:pt x="1149" y="464"/>
                    <a:pt x="1150" y="481"/>
                    <a:pt x="1152" y="500"/>
                  </a:cubicBezTo>
                  <a:cubicBezTo>
                    <a:pt x="1163" y="569"/>
                    <a:pt x="1163" y="569"/>
                    <a:pt x="1163" y="569"/>
                  </a:cubicBezTo>
                  <a:cubicBezTo>
                    <a:pt x="1171" y="616"/>
                    <a:pt x="1175" y="640"/>
                    <a:pt x="1175" y="641"/>
                  </a:cubicBezTo>
                  <a:cubicBezTo>
                    <a:pt x="1177" y="661"/>
                    <a:pt x="1183" y="714"/>
                    <a:pt x="1183" y="718"/>
                  </a:cubicBezTo>
                  <a:cubicBezTo>
                    <a:pt x="1186" y="783"/>
                    <a:pt x="1186" y="789"/>
                    <a:pt x="1186" y="790"/>
                  </a:cubicBezTo>
                  <a:cubicBezTo>
                    <a:pt x="1186" y="792"/>
                    <a:pt x="1186" y="795"/>
                    <a:pt x="1186" y="798"/>
                  </a:cubicBezTo>
                  <a:cubicBezTo>
                    <a:pt x="1186" y="913"/>
                    <a:pt x="1148" y="1029"/>
                    <a:pt x="1086" y="1101"/>
                  </a:cubicBezTo>
                  <a:cubicBezTo>
                    <a:pt x="1084" y="1103"/>
                    <a:pt x="1084" y="1103"/>
                    <a:pt x="1084" y="1103"/>
                  </a:cubicBezTo>
                  <a:cubicBezTo>
                    <a:pt x="1044" y="1152"/>
                    <a:pt x="989" y="1219"/>
                    <a:pt x="838" y="1272"/>
                  </a:cubicBezTo>
                  <a:cubicBezTo>
                    <a:pt x="754" y="1303"/>
                    <a:pt x="679" y="1333"/>
                    <a:pt x="614" y="1390"/>
                  </a:cubicBezTo>
                  <a:cubicBezTo>
                    <a:pt x="614" y="1390"/>
                    <a:pt x="614" y="1390"/>
                    <a:pt x="614" y="1390"/>
                  </a:cubicBezTo>
                  <a:cubicBezTo>
                    <a:pt x="611" y="1393"/>
                    <a:pt x="611" y="1393"/>
                    <a:pt x="611" y="1393"/>
                  </a:cubicBezTo>
                  <a:cubicBezTo>
                    <a:pt x="609" y="1395"/>
                    <a:pt x="609" y="1395"/>
                    <a:pt x="609" y="1395"/>
                  </a:cubicBezTo>
                  <a:cubicBezTo>
                    <a:pt x="605" y="1401"/>
                    <a:pt x="605" y="1401"/>
                    <a:pt x="605" y="1401"/>
                  </a:cubicBezTo>
                  <a:lnTo>
                    <a:pt x="601" y="1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3" name="Freeform 32">
              <a:extLst>
                <a:ext uri="{FF2B5EF4-FFF2-40B4-BE49-F238E27FC236}">
                  <a16:creationId xmlns:a16="http://schemas.microsoft.com/office/drawing/2014/main" id="{43D6CEB4-5F6A-4888-9B67-2FA0375B31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29" y="1389"/>
              <a:ext cx="874" cy="964"/>
            </a:xfrm>
            <a:custGeom>
              <a:avLst/>
              <a:gdLst>
                <a:gd name="T0" fmla="*/ 749 w 1290"/>
                <a:gd name="T1" fmla="*/ 675 h 1419"/>
                <a:gd name="T2" fmla="*/ 440 w 1290"/>
                <a:gd name="T3" fmla="*/ 333 h 1419"/>
                <a:gd name="T4" fmla="*/ 318 w 1290"/>
                <a:gd name="T5" fmla="*/ 282 h 1419"/>
                <a:gd name="T6" fmla="*/ 512 w 1290"/>
                <a:gd name="T7" fmla="*/ 271 h 1419"/>
                <a:gd name="T8" fmla="*/ 861 w 1290"/>
                <a:gd name="T9" fmla="*/ 775 h 1419"/>
                <a:gd name="T10" fmla="*/ 645 w 1290"/>
                <a:gd name="T11" fmla="*/ 693 h 1419"/>
                <a:gd name="T12" fmla="*/ 543 w 1290"/>
                <a:gd name="T13" fmla="*/ 673 h 1419"/>
                <a:gd name="T14" fmla="*/ 935 w 1290"/>
                <a:gd name="T15" fmla="*/ 783 h 1419"/>
                <a:gd name="T16" fmla="*/ 652 w 1290"/>
                <a:gd name="T17" fmla="*/ 507 h 1419"/>
                <a:gd name="T18" fmla="*/ 557 w 1290"/>
                <a:gd name="T19" fmla="*/ 529 h 1419"/>
                <a:gd name="T20" fmla="*/ 692 w 1290"/>
                <a:gd name="T21" fmla="*/ 506 h 1419"/>
                <a:gd name="T22" fmla="*/ 356 w 1290"/>
                <a:gd name="T23" fmla="*/ 342 h 1419"/>
                <a:gd name="T24" fmla="*/ 1004 w 1290"/>
                <a:gd name="T25" fmla="*/ 332 h 1419"/>
                <a:gd name="T26" fmla="*/ 1016 w 1290"/>
                <a:gd name="T27" fmla="*/ 287 h 1419"/>
                <a:gd name="T28" fmla="*/ 350 w 1290"/>
                <a:gd name="T29" fmla="*/ 337 h 1419"/>
                <a:gd name="T30" fmla="*/ 675 w 1290"/>
                <a:gd name="T31" fmla="*/ 254 h 1419"/>
                <a:gd name="T32" fmla="*/ 270 w 1290"/>
                <a:gd name="T33" fmla="*/ 239 h 1419"/>
                <a:gd name="T34" fmla="*/ 691 w 1290"/>
                <a:gd name="T35" fmla="*/ 229 h 1419"/>
                <a:gd name="T36" fmla="*/ 626 w 1290"/>
                <a:gd name="T37" fmla="*/ 248 h 1419"/>
                <a:gd name="T38" fmla="*/ 641 w 1290"/>
                <a:gd name="T39" fmla="*/ 229 h 1419"/>
                <a:gd name="T40" fmla="*/ 1076 w 1290"/>
                <a:gd name="T41" fmla="*/ 236 h 1419"/>
                <a:gd name="T42" fmla="*/ 600 w 1290"/>
                <a:gd name="T43" fmla="*/ 199 h 1419"/>
                <a:gd name="T44" fmla="*/ 953 w 1290"/>
                <a:gd name="T45" fmla="*/ 204 h 1419"/>
                <a:gd name="T46" fmla="*/ 572 w 1290"/>
                <a:gd name="T47" fmla="*/ 194 h 1419"/>
                <a:gd name="T48" fmla="*/ 1198 w 1290"/>
                <a:gd name="T49" fmla="*/ 148 h 1419"/>
                <a:gd name="T50" fmla="*/ 808 w 1290"/>
                <a:gd name="T51" fmla="*/ 336 h 1419"/>
                <a:gd name="T52" fmla="*/ 839 w 1290"/>
                <a:gd name="T53" fmla="*/ 188 h 1419"/>
                <a:gd name="T54" fmla="*/ 1180 w 1290"/>
                <a:gd name="T55" fmla="*/ 797 h 1419"/>
                <a:gd name="T56" fmla="*/ 26 w 1290"/>
                <a:gd name="T57" fmla="*/ 281 h 1419"/>
                <a:gd name="T58" fmla="*/ 91 w 1290"/>
                <a:gd name="T59" fmla="*/ 731 h 1419"/>
                <a:gd name="T60" fmla="*/ 1149 w 1290"/>
                <a:gd name="T61" fmla="*/ 324 h 1419"/>
                <a:gd name="T62" fmla="*/ 671 w 1290"/>
                <a:gd name="T63" fmla="*/ 473 h 1419"/>
                <a:gd name="T64" fmla="*/ 584 w 1290"/>
                <a:gd name="T65" fmla="*/ 402 h 1419"/>
                <a:gd name="T66" fmla="*/ 802 w 1290"/>
                <a:gd name="T67" fmla="*/ 969 h 1419"/>
                <a:gd name="T68" fmla="*/ 945 w 1290"/>
                <a:gd name="T69" fmla="*/ 1033 h 1419"/>
                <a:gd name="T70" fmla="*/ 781 w 1290"/>
                <a:gd name="T71" fmla="*/ 1037 h 1419"/>
                <a:gd name="T72" fmla="*/ 581 w 1290"/>
                <a:gd name="T73" fmla="*/ 714 h 1419"/>
                <a:gd name="T74" fmla="*/ 798 w 1290"/>
                <a:gd name="T75" fmla="*/ 868 h 1419"/>
                <a:gd name="T76" fmla="*/ 943 w 1290"/>
                <a:gd name="T77" fmla="*/ 892 h 1419"/>
                <a:gd name="T78" fmla="*/ 576 w 1290"/>
                <a:gd name="T79" fmla="*/ 320 h 1419"/>
                <a:gd name="T80" fmla="*/ 563 w 1290"/>
                <a:gd name="T81" fmla="*/ 262 h 1419"/>
                <a:gd name="T82" fmla="*/ 636 w 1290"/>
                <a:gd name="T83" fmla="*/ 271 h 1419"/>
                <a:gd name="T84" fmla="*/ 708 w 1290"/>
                <a:gd name="T85" fmla="*/ 1000 h 1419"/>
                <a:gd name="T86" fmla="*/ 519 w 1290"/>
                <a:gd name="T87" fmla="*/ 720 h 1419"/>
                <a:gd name="T88" fmla="*/ 480 w 1290"/>
                <a:gd name="T89" fmla="*/ 486 h 1419"/>
                <a:gd name="T90" fmla="*/ 840 w 1290"/>
                <a:gd name="T91" fmla="*/ 494 h 1419"/>
                <a:gd name="T92" fmla="*/ 687 w 1290"/>
                <a:gd name="T93" fmla="*/ 474 h 1419"/>
                <a:gd name="T94" fmla="*/ 958 w 1290"/>
                <a:gd name="T95" fmla="*/ 412 h 1419"/>
                <a:gd name="T96" fmla="*/ 1084 w 1290"/>
                <a:gd name="T97" fmla="*/ 383 h 1419"/>
                <a:gd name="T98" fmla="*/ 554 w 1290"/>
                <a:gd name="T99" fmla="*/ 403 h 1419"/>
                <a:gd name="T100" fmla="*/ 304 w 1290"/>
                <a:gd name="T101" fmla="*/ 381 h 1419"/>
                <a:gd name="T102" fmla="*/ 865 w 1290"/>
                <a:gd name="T103" fmla="*/ 410 h 1419"/>
                <a:gd name="T104" fmla="*/ 861 w 1290"/>
                <a:gd name="T105" fmla="*/ 378 h 1419"/>
                <a:gd name="T106" fmla="*/ 554 w 1290"/>
                <a:gd name="T107" fmla="*/ 44 h 1419"/>
                <a:gd name="T108" fmla="*/ 1047 w 1290"/>
                <a:gd name="T109" fmla="*/ 140 h 1419"/>
                <a:gd name="T110" fmla="*/ 186 w 1290"/>
                <a:gd name="T111" fmla="*/ 138 h 1419"/>
                <a:gd name="T112" fmla="*/ 1018 w 1290"/>
                <a:gd name="T113" fmla="*/ 5 h 1419"/>
                <a:gd name="T114" fmla="*/ 472 w 1290"/>
                <a:gd name="T115" fmla="*/ 34 h 1419"/>
                <a:gd name="T116" fmla="*/ 0 w 1290"/>
                <a:gd name="T117" fmla="*/ 283 h 1419"/>
                <a:gd name="T118" fmla="*/ 31 w 1290"/>
                <a:gd name="T119" fmla="*/ 824 h 1419"/>
                <a:gd name="T120" fmla="*/ 625 w 1290"/>
                <a:gd name="T121" fmla="*/ 1405 h 1419"/>
                <a:gd name="T122" fmla="*/ 1162 w 1290"/>
                <a:gd name="T123" fmla="*/ 458 h 1419"/>
                <a:gd name="T124" fmla="*/ 1290 w 1290"/>
                <a:gd name="T125" fmla="*/ 105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0" h="1419">
                  <a:moveTo>
                    <a:pt x="445" y="234"/>
                  </a:moveTo>
                  <a:cubicBezTo>
                    <a:pt x="411" y="216"/>
                    <a:pt x="362" y="217"/>
                    <a:pt x="334" y="210"/>
                  </a:cubicBezTo>
                  <a:cubicBezTo>
                    <a:pt x="306" y="203"/>
                    <a:pt x="302" y="201"/>
                    <a:pt x="302" y="201"/>
                  </a:cubicBezTo>
                  <a:cubicBezTo>
                    <a:pt x="313" y="203"/>
                    <a:pt x="323" y="206"/>
                    <a:pt x="335" y="208"/>
                  </a:cubicBezTo>
                  <a:cubicBezTo>
                    <a:pt x="373" y="212"/>
                    <a:pt x="414" y="214"/>
                    <a:pt x="445" y="228"/>
                  </a:cubicBezTo>
                  <a:cubicBezTo>
                    <a:pt x="463" y="235"/>
                    <a:pt x="473" y="253"/>
                    <a:pt x="477" y="272"/>
                  </a:cubicBezTo>
                  <a:cubicBezTo>
                    <a:pt x="470" y="257"/>
                    <a:pt x="459" y="242"/>
                    <a:pt x="445" y="234"/>
                  </a:cubicBezTo>
                  <a:moveTo>
                    <a:pt x="752" y="668"/>
                  </a:moveTo>
                  <a:cubicBezTo>
                    <a:pt x="781" y="704"/>
                    <a:pt x="783" y="704"/>
                    <a:pt x="807" y="728"/>
                  </a:cubicBezTo>
                  <a:cubicBezTo>
                    <a:pt x="794" y="722"/>
                    <a:pt x="765" y="695"/>
                    <a:pt x="749" y="675"/>
                  </a:cubicBezTo>
                  <a:cubicBezTo>
                    <a:pt x="725" y="645"/>
                    <a:pt x="714" y="619"/>
                    <a:pt x="710" y="591"/>
                  </a:cubicBezTo>
                  <a:cubicBezTo>
                    <a:pt x="710" y="591"/>
                    <a:pt x="724" y="632"/>
                    <a:pt x="752" y="668"/>
                  </a:cubicBezTo>
                  <a:moveTo>
                    <a:pt x="562" y="345"/>
                  </a:moveTo>
                  <a:cubicBezTo>
                    <a:pt x="539" y="342"/>
                    <a:pt x="519" y="352"/>
                    <a:pt x="501" y="375"/>
                  </a:cubicBezTo>
                  <a:cubicBezTo>
                    <a:pt x="478" y="382"/>
                    <a:pt x="464" y="391"/>
                    <a:pt x="447" y="409"/>
                  </a:cubicBezTo>
                  <a:cubicBezTo>
                    <a:pt x="434" y="405"/>
                    <a:pt x="419" y="397"/>
                    <a:pt x="415" y="394"/>
                  </a:cubicBezTo>
                  <a:cubicBezTo>
                    <a:pt x="418" y="387"/>
                    <a:pt x="422" y="382"/>
                    <a:pt x="429" y="379"/>
                  </a:cubicBezTo>
                  <a:cubicBezTo>
                    <a:pt x="423" y="376"/>
                    <a:pt x="413" y="371"/>
                    <a:pt x="415" y="364"/>
                  </a:cubicBezTo>
                  <a:cubicBezTo>
                    <a:pt x="418" y="352"/>
                    <a:pt x="434" y="359"/>
                    <a:pt x="452" y="352"/>
                  </a:cubicBezTo>
                  <a:cubicBezTo>
                    <a:pt x="445" y="348"/>
                    <a:pt x="436" y="343"/>
                    <a:pt x="440" y="333"/>
                  </a:cubicBezTo>
                  <a:cubicBezTo>
                    <a:pt x="443" y="323"/>
                    <a:pt x="459" y="324"/>
                    <a:pt x="471" y="327"/>
                  </a:cubicBezTo>
                  <a:cubicBezTo>
                    <a:pt x="464" y="321"/>
                    <a:pt x="463" y="309"/>
                    <a:pt x="470" y="304"/>
                  </a:cubicBezTo>
                  <a:cubicBezTo>
                    <a:pt x="478" y="300"/>
                    <a:pt x="494" y="301"/>
                    <a:pt x="494" y="301"/>
                  </a:cubicBezTo>
                  <a:cubicBezTo>
                    <a:pt x="494" y="293"/>
                    <a:pt x="501" y="287"/>
                    <a:pt x="505" y="280"/>
                  </a:cubicBezTo>
                  <a:cubicBezTo>
                    <a:pt x="498" y="282"/>
                    <a:pt x="493" y="291"/>
                    <a:pt x="491" y="297"/>
                  </a:cubicBezTo>
                  <a:cubicBezTo>
                    <a:pt x="468" y="295"/>
                    <a:pt x="457" y="306"/>
                    <a:pt x="463" y="321"/>
                  </a:cubicBezTo>
                  <a:cubicBezTo>
                    <a:pt x="452" y="318"/>
                    <a:pt x="440" y="320"/>
                    <a:pt x="436" y="330"/>
                  </a:cubicBezTo>
                  <a:cubicBezTo>
                    <a:pt x="408" y="313"/>
                    <a:pt x="365" y="301"/>
                    <a:pt x="335" y="299"/>
                  </a:cubicBezTo>
                  <a:cubicBezTo>
                    <a:pt x="331" y="299"/>
                    <a:pt x="329" y="299"/>
                    <a:pt x="325" y="298"/>
                  </a:cubicBezTo>
                  <a:cubicBezTo>
                    <a:pt x="322" y="295"/>
                    <a:pt x="319" y="286"/>
                    <a:pt x="318" y="282"/>
                  </a:cubicBezTo>
                  <a:cubicBezTo>
                    <a:pt x="314" y="269"/>
                    <a:pt x="308" y="251"/>
                    <a:pt x="295" y="245"/>
                  </a:cubicBezTo>
                  <a:cubicBezTo>
                    <a:pt x="323" y="249"/>
                    <a:pt x="397" y="263"/>
                    <a:pt x="443" y="282"/>
                  </a:cubicBezTo>
                  <a:cubicBezTo>
                    <a:pt x="409" y="257"/>
                    <a:pt x="317" y="245"/>
                    <a:pt x="261" y="231"/>
                  </a:cubicBezTo>
                  <a:cubicBezTo>
                    <a:pt x="219" y="222"/>
                    <a:pt x="162" y="204"/>
                    <a:pt x="126" y="179"/>
                  </a:cubicBezTo>
                  <a:cubicBezTo>
                    <a:pt x="106" y="164"/>
                    <a:pt x="95" y="148"/>
                    <a:pt x="93" y="129"/>
                  </a:cubicBezTo>
                  <a:cubicBezTo>
                    <a:pt x="118" y="138"/>
                    <a:pt x="140" y="143"/>
                    <a:pt x="169" y="149"/>
                  </a:cubicBezTo>
                  <a:cubicBezTo>
                    <a:pt x="189" y="153"/>
                    <a:pt x="205" y="156"/>
                    <a:pt x="233" y="162"/>
                  </a:cubicBezTo>
                  <a:cubicBezTo>
                    <a:pt x="260" y="167"/>
                    <a:pt x="298" y="179"/>
                    <a:pt x="298" y="179"/>
                  </a:cubicBezTo>
                  <a:cubicBezTo>
                    <a:pt x="358" y="196"/>
                    <a:pt x="425" y="185"/>
                    <a:pt x="483" y="205"/>
                  </a:cubicBezTo>
                  <a:cubicBezTo>
                    <a:pt x="509" y="215"/>
                    <a:pt x="508" y="247"/>
                    <a:pt x="512" y="271"/>
                  </a:cubicBezTo>
                  <a:cubicBezTo>
                    <a:pt x="518" y="277"/>
                    <a:pt x="518" y="277"/>
                    <a:pt x="518" y="277"/>
                  </a:cubicBezTo>
                  <a:cubicBezTo>
                    <a:pt x="518" y="311"/>
                    <a:pt x="535" y="325"/>
                    <a:pt x="562" y="345"/>
                  </a:cubicBezTo>
                  <a:moveTo>
                    <a:pt x="774" y="670"/>
                  </a:moveTo>
                  <a:cubicBezTo>
                    <a:pt x="803" y="705"/>
                    <a:pt x="830" y="724"/>
                    <a:pt x="836" y="728"/>
                  </a:cubicBezTo>
                  <a:cubicBezTo>
                    <a:pt x="836" y="728"/>
                    <a:pt x="796" y="691"/>
                    <a:pt x="788" y="676"/>
                  </a:cubicBezTo>
                  <a:cubicBezTo>
                    <a:pt x="855" y="728"/>
                    <a:pt x="908" y="749"/>
                    <a:pt x="933" y="767"/>
                  </a:cubicBezTo>
                  <a:cubicBezTo>
                    <a:pt x="923" y="765"/>
                    <a:pt x="912" y="764"/>
                    <a:pt x="906" y="771"/>
                  </a:cubicBezTo>
                  <a:cubicBezTo>
                    <a:pt x="901" y="779"/>
                    <a:pt x="905" y="791"/>
                    <a:pt x="901" y="802"/>
                  </a:cubicBezTo>
                  <a:cubicBezTo>
                    <a:pt x="899" y="810"/>
                    <a:pt x="894" y="811"/>
                    <a:pt x="891" y="811"/>
                  </a:cubicBezTo>
                  <a:cubicBezTo>
                    <a:pt x="886" y="780"/>
                    <a:pt x="861" y="775"/>
                    <a:pt x="861" y="775"/>
                  </a:cubicBezTo>
                  <a:cubicBezTo>
                    <a:pt x="867" y="782"/>
                    <a:pt x="875" y="790"/>
                    <a:pt x="877" y="801"/>
                  </a:cubicBezTo>
                  <a:cubicBezTo>
                    <a:pt x="853" y="797"/>
                    <a:pt x="809" y="770"/>
                    <a:pt x="809" y="769"/>
                  </a:cubicBezTo>
                  <a:cubicBezTo>
                    <a:pt x="786" y="771"/>
                    <a:pt x="758" y="768"/>
                    <a:pt x="743" y="758"/>
                  </a:cubicBezTo>
                  <a:cubicBezTo>
                    <a:pt x="726" y="747"/>
                    <a:pt x="761" y="745"/>
                    <a:pt x="747" y="734"/>
                  </a:cubicBezTo>
                  <a:cubicBezTo>
                    <a:pt x="740" y="729"/>
                    <a:pt x="733" y="734"/>
                    <a:pt x="728" y="726"/>
                  </a:cubicBezTo>
                  <a:cubicBezTo>
                    <a:pt x="724" y="721"/>
                    <a:pt x="737" y="709"/>
                    <a:pt x="732" y="698"/>
                  </a:cubicBezTo>
                  <a:cubicBezTo>
                    <a:pt x="728" y="690"/>
                    <a:pt x="721" y="691"/>
                    <a:pt x="715" y="696"/>
                  </a:cubicBezTo>
                  <a:cubicBezTo>
                    <a:pt x="709" y="702"/>
                    <a:pt x="705" y="725"/>
                    <a:pt x="687" y="721"/>
                  </a:cubicBezTo>
                  <a:cubicBezTo>
                    <a:pt x="677" y="718"/>
                    <a:pt x="680" y="700"/>
                    <a:pt x="669" y="692"/>
                  </a:cubicBezTo>
                  <a:cubicBezTo>
                    <a:pt x="661" y="686"/>
                    <a:pt x="651" y="686"/>
                    <a:pt x="645" y="693"/>
                  </a:cubicBezTo>
                  <a:cubicBezTo>
                    <a:pt x="637" y="700"/>
                    <a:pt x="639" y="711"/>
                    <a:pt x="639" y="711"/>
                  </a:cubicBezTo>
                  <a:cubicBezTo>
                    <a:pt x="618" y="669"/>
                    <a:pt x="638" y="578"/>
                    <a:pt x="638" y="578"/>
                  </a:cubicBezTo>
                  <a:cubicBezTo>
                    <a:pt x="616" y="637"/>
                    <a:pt x="616" y="688"/>
                    <a:pt x="633" y="719"/>
                  </a:cubicBezTo>
                  <a:cubicBezTo>
                    <a:pt x="628" y="716"/>
                    <a:pt x="619" y="707"/>
                    <a:pt x="616" y="702"/>
                  </a:cubicBezTo>
                  <a:cubicBezTo>
                    <a:pt x="612" y="691"/>
                    <a:pt x="605" y="676"/>
                    <a:pt x="606" y="661"/>
                  </a:cubicBezTo>
                  <a:cubicBezTo>
                    <a:pt x="593" y="684"/>
                    <a:pt x="619" y="727"/>
                    <a:pt x="609" y="727"/>
                  </a:cubicBezTo>
                  <a:cubicBezTo>
                    <a:pt x="600" y="727"/>
                    <a:pt x="600" y="710"/>
                    <a:pt x="589" y="705"/>
                  </a:cubicBezTo>
                  <a:cubicBezTo>
                    <a:pt x="578" y="699"/>
                    <a:pt x="574" y="709"/>
                    <a:pt x="570" y="705"/>
                  </a:cubicBezTo>
                  <a:cubicBezTo>
                    <a:pt x="565" y="701"/>
                    <a:pt x="588" y="684"/>
                    <a:pt x="568" y="672"/>
                  </a:cubicBezTo>
                  <a:cubicBezTo>
                    <a:pt x="557" y="666"/>
                    <a:pt x="552" y="678"/>
                    <a:pt x="543" y="673"/>
                  </a:cubicBezTo>
                  <a:cubicBezTo>
                    <a:pt x="534" y="668"/>
                    <a:pt x="522" y="670"/>
                    <a:pt x="522" y="670"/>
                  </a:cubicBezTo>
                  <a:cubicBezTo>
                    <a:pt x="518" y="649"/>
                    <a:pt x="544" y="556"/>
                    <a:pt x="544" y="556"/>
                  </a:cubicBezTo>
                  <a:cubicBezTo>
                    <a:pt x="560" y="564"/>
                    <a:pt x="582" y="551"/>
                    <a:pt x="582" y="551"/>
                  </a:cubicBezTo>
                  <a:cubicBezTo>
                    <a:pt x="593" y="573"/>
                    <a:pt x="617" y="555"/>
                    <a:pt x="627" y="547"/>
                  </a:cubicBezTo>
                  <a:cubicBezTo>
                    <a:pt x="635" y="540"/>
                    <a:pt x="637" y="535"/>
                    <a:pt x="646" y="531"/>
                  </a:cubicBezTo>
                  <a:cubicBezTo>
                    <a:pt x="656" y="526"/>
                    <a:pt x="667" y="533"/>
                    <a:pt x="677" y="528"/>
                  </a:cubicBezTo>
                  <a:cubicBezTo>
                    <a:pt x="688" y="524"/>
                    <a:pt x="691" y="517"/>
                    <a:pt x="691" y="517"/>
                  </a:cubicBezTo>
                  <a:cubicBezTo>
                    <a:pt x="704" y="529"/>
                    <a:pt x="721" y="574"/>
                    <a:pt x="728" y="589"/>
                  </a:cubicBezTo>
                  <a:cubicBezTo>
                    <a:pt x="751" y="640"/>
                    <a:pt x="774" y="670"/>
                    <a:pt x="774" y="670"/>
                  </a:cubicBezTo>
                  <a:moveTo>
                    <a:pt x="935" y="783"/>
                  </a:moveTo>
                  <a:cubicBezTo>
                    <a:pt x="937" y="794"/>
                    <a:pt x="923" y="801"/>
                    <a:pt x="913" y="802"/>
                  </a:cubicBezTo>
                  <a:cubicBezTo>
                    <a:pt x="910" y="803"/>
                    <a:pt x="910" y="803"/>
                    <a:pt x="910" y="803"/>
                  </a:cubicBezTo>
                  <a:cubicBezTo>
                    <a:pt x="910" y="793"/>
                    <a:pt x="908" y="774"/>
                    <a:pt x="918" y="772"/>
                  </a:cubicBezTo>
                  <a:cubicBezTo>
                    <a:pt x="929" y="770"/>
                    <a:pt x="933" y="775"/>
                    <a:pt x="935" y="783"/>
                  </a:cubicBezTo>
                  <a:moveTo>
                    <a:pt x="692" y="506"/>
                  </a:moveTo>
                  <a:cubicBezTo>
                    <a:pt x="686" y="507"/>
                    <a:pt x="690" y="510"/>
                    <a:pt x="676" y="520"/>
                  </a:cubicBezTo>
                  <a:cubicBezTo>
                    <a:pt x="673" y="522"/>
                    <a:pt x="663" y="524"/>
                    <a:pt x="655" y="523"/>
                  </a:cubicBezTo>
                  <a:cubicBezTo>
                    <a:pt x="657" y="519"/>
                    <a:pt x="661" y="515"/>
                    <a:pt x="656" y="505"/>
                  </a:cubicBezTo>
                  <a:cubicBezTo>
                    <a:pt x="651" y="495"/>
                    <a:pt x="643" y="492"/>
                    <a:pt x="639" y="492"/>
                  </a:cubicBezTo>
                  <a:cubicBezTo>
                    <a:pt x="645" y="496"/>
                    <a:pt x="649" y="501"/>
                    <a:pt x="652" y="507"/>
                  </a:cubicBezTo>
                  <a:cubicBezTo>
                    <a:pt x="654" y="512"/>
                    <a:pt x="653" y="518"/>
                    <a:pt x="648" y="522"/>
                  </a:cubicBezTo>
                  <a:cubicBezTo>
                    <a:pt x="644" y="523"/>
                    <a:pt x="638" y="526"/>
                    <a:pt x="635" y="530"/>
                  </a:cubicBezTo>
                  <a:cubicBezTo>
                    <a:pt x="638" y="517"/>
                    <a:pt x="627" y="498"/>
                    <a:pt x="617" y="495"/>
                  </a:cubicBezTo>
                  <a:cubicBezTo>
                    <a:pt x="626" y="507"/>
                    <a:pt x="633" y="514"/>
                    <a:pt x="628" y="534"/>
                  </a:cubicBezTo>
                  <a:cubicBezTo>
                    <a:pt x="625" y="540"/>
                    <a:pt x="599" y="558"/>
                    <a:pt x="592" y="552"/>
                  </a:cubicBezTo>
                  <a:cubicBezTo>
                    <a:pt x="579" y="541"/>
                    <a:pt x="589" y="532"/>
                    <a:pt x="585" y="519"/>
                  </a:cubicBezTo>
                  <a:cubicBezTo>
                    <a:pt x="583" y="517"/>
                    <a:pt x="583" y="514"/>
                    <a:pt x="581" y="515"/>
                  </a:cubicBezTo>
                  <a:cubicBezTo>
                    <a:pt x="584" y="527"/>
                    <a:pt x="579" y="532"/>
                    <a:pt x="580" y="545"/>
                  </a:cubicBezTo>
                  <a:cubicBezTo>
                    <a:pt x="571" y="548"/>
                    <a:pt x="567" y="549"/>
                    <a:pt x="561" y="548"/>
                  </a:cubicBezTo>
                  <a:cubicBezTo>
                    <a:pt x="558" y="545"/>
                    <a:pt x="555" y="539"/>
                    <a:pt x="557" y="529"/>
                  </a:cubicBezTo>
                  <a:cubicBezTo>
                    <a:pt x="559" y="520"/>
                    <a:pt x="567" y="508"/>
                    <a:pt x="574" y="498"/>
                  </a:cubicBezTo>
                  <a:cubicBezTo>
                    <a:pt x="574" y="498"/>
                    <a:pt x="570" y="500"/>
                    <a:pt x="567" y="503"/>
                  </a:cubicBezTo>
                  <a:cubicBezTo>
                    <a:pt x="555" y="514"/>
                    <a:pt x="550" y="527"/>
                    <a:pt x="550" y="537"/>
                  </a:cubicBezTo>
                  <a:cubicBezTo>
                    <a:pt x="551" y="541"/>
                    <a:pt x="551" y="545"/>
                    <a:pt x="555" y="548"/>
                  </a:cubicBezTo>
                  <a:cubicBezTo>
                    <a:pt x="552" y="548"/>
                    <a:pt x="540" y="548"/>
                    <a:pt x="537" y="541"/>
                  </a:cubicBezTo>
                  <a:cubicBezTo>
                    <a:pt x="530" y="527"/>
                    <a:pt x="540" y="514"/>
                    <a:pt x="547" y="505"/>
                  </a:cubicBezTo>
                  <a:cubicBezTo>
                    <a:pt x="554" y="497"/>
                    <a:pt x="564" y="492"/>
                    <a:pt x="564" y="492"/>
                  </a:cubicBezTo>
                  <a:cubicBezTo>
                    <a:pt x="579" y="485"/>
                    <a:pt x="602" y="488"/>
                    <a:pt x="618" y="485"/>
                  </a:cubicBezTo>
                  <a:cubicBezTo>
                    <a:pt x="634" y="483"/>
                    <a:pt x="647" y="486"/>
                    <a:pt x="661" y="490"/>
                  </a:cubicBezTo>
                  <a:cubicBezTo>
                    <a:pt x="674" y="494"/>
                    <a:pt x="682" y="499"/>
                    <a:pt x="692" y="506"/>
                  </a:cubicBezTo>
                  <a:moveTo>
                    <a:pt x="416" y="356"/>
                  </a:moveTo>
                  <a:cubicBezTo>
                    <a:pt x="408" y="360"/>
                    <a:pt x="410" y="366"/>
                    <a:pt x="411" y="370"/>
                  </a:cubicBezTo>
                  <a:cubicBezTo>
                    <a:pt x="414" y="376"/>
                    <a:pt x="420" y="379"/>
                    <a:pt x="420" y="379"/>
                  </a:cubicBezTo>
                  <a:cubicBezTo>
                    <a:pt x="417" y="381"/>
                    <a:pt x="412" y="386"/>
                    <a:pt x="409" y="391"/>
                  </a:cubicBezTo>
                  <a:cubicBezTo>
                    <a:pt x="401" y="386"/>
                    <a:pt x="389" y="380"/>
                    <a:pt x="379" y="376"/>
                  </a:cubicBezTo>
                  <a:cubicBezTo>
                    <a:pt x="360" y="365"/>
                    <a:pt x="341" y="358"/>
                    <a:pt x="321" y="360"/>
                  </a:cubicBezTo>
                  <a:cubicBezTo>
                    <a:pt x="316" y="360"/>
                    <a:pt x="303" y="365"/>
                    <a:pt x="299" y="366"/>
                  </a:cubicBezTo>
                  <a:cubicBezTo>
                    <a:pt x="285" y="364"/>
                    <a:pt x="265" y="352"/>
                    <a:pt x="260" y="346"/>
                  </a:cubicBezTo>
                  <a:cubicBezTo>
                    <a:pt x="284" y="349"/>
                    <a:pt x="301" y="348"/>
                    <a:pt x="315" y="348"/>
                  </a:cubicBezTo>
                  <a:cubicBezTo>
                    <a:pt x="340" y="346"/>
                    <a:pt x="356" y="342"/>
                    <a:pt x="356" y="342"/>
                  </a:cubicBezTo>
                  <a:cubicBezTo>
                    <a:pt x="376" y="350"/>
                    <a:pt x="391" y="356"/>
                    <a:pt x="416" y="356"/>
                  </a:cubicBezTo>
                  <a:moveTo>
                    <a:pt x="1138" y="317"/>
                  </a:moveTo>
                  <a:cubicBezTo>
                    <a:pt x="1120" y="376"/>
                    <a:pt x="1068" y="368"/>
                    <a:pt x="1049" y="357"/>
                  </a:cubicBezTo>
                  <a:cubicBezTo>
                    <a:pt x="1068" y="351"/>
                    <a:pt x="1076" y="334"/>
                    <a:pt x="1076" y="334"/>
                  </a:cubicBezTo>
                  <a:cubicBezTo>
                    <a:pt x="1102" y="337"/>
                    <a:pt x="1120" y="332"/>
                    <a:pt x="1138" y="317"/>
                  </a:cubicBezTo>
                  <a:moveTo>
                    <a:pt x="1069" y="333"/>
                  </a:moveTo>
                  <a:cubicBezTo>
                    <a:pt x="1068" y="340"/>
                    <a:pt x="1053" y="351"/>
                    <a:pt x="1038" y="354"/>
                  </a:cubicBezTo>
                  <a:cubicBezTo>
                    <a:pt x="1038" y="354"/>
                    <a:pt x="1036" y="342"/>
                    <a:pt x="1020" y="343"/>
                  </a:cubicBezTo>
                  <a:cubicBezTo>
                    <a:pt x="1011" y="344"/>
                    <a:pt x="1011" y="345"/>
                    <a:pt x="1005" y="347"/>
                  </a:cubicBezTo>
                  <a:cubicBezTo>
                    <a:pt x="1007" y="343"/>
                    <a:pt x="1007" y="337"/>
                    <a:pt x="1004" y="332"/>
                  </a:cubicBezTo>
                  <a:cubicBezTo>
                    <a:pt x="1003" y="331"/>
                    <a:pt x="1002" y="330"/>
                    <a:pt x="1000" y="330"/>
                  </a:cubicBezTo>
                  <a:cubicBezTo>
                    <a:pt x="996" y="330"/>
                    <a:pt x="991" y="331"/>
                    <a:pt x="986" y="334"/>
                  </a:cubicBezTo>
                  <a:cubicBezTo>
                    <a:pt x="981" y="338"/>
                    <a:pt x="975" y="337"/>
                    <a:pt x="971" y="339"/>
                  </a:cubicBezTo>
                  <a:cubicBezTo>
                    <a:pt x="963" y="341"/>
                    <a:pt x="958" y="346"/>
                    <a:pt x="952" y="355"/>
                  </a:cubicBezTo>
                  <a:cubicBezTo>
                    <a:pt x="951" y="356"/>
                    <a:pt x="948" y="355"/>
                    <a:pt x="945" y="355"/>
                  </a:cubicBezTo>
                  <a:cubicBezTo>
                    <a:pt x="941" y="354"/>
                    <a:pt x="880" y="363"/>
                    <a:pt x="880" y="363"/>
                  </a:cubicBezTo>
                  <a:cubicBezTo>
                    <a:pt x="869" y="362"/>
                    <a:pt x="853" y="363"/>
                    <a:pt x="833" y="357"/>
                  </a:cubicBezTo>
                  <a:cubicBezTo>
                    <a:pt x="833" y="357"/>
                    <a:pt x="850" y="349"/>
                    <a:pt x="841" y="334"/>
                  </a:cubicBezTo>
                  <a:cubicBezTo>
                    <a:pt x="841" y="334"/>
                    <a:pt x="923" y="316"/>
                    <a:pt x="955" y="307"/>
                  </a:cubicBezTo>
                  <a:cubicBezTo>
                    <a:pt x="988" y="298"/>
                    <a:pt x="1005" y="292"/>
                    <a:pt x="1016" y="287"/>
                  </a:cubicBezTo>
                  <a:cubicBezTo>
                    <a:pt x="1014" y="294"/>
                    <a:pt x="1022" y="308"/>
                    <a:pt x="1035" y="318"/>
                  </a:cubicBezTo>
                  <a:cubicBezTo>
                    <a:pt x="1044" y="325"/>
                    <a:pt x="1062" y="332"/>
                    <a:pt x="1069" y="333"/>
                  </a:cubicBezTo>
                  <a:moveTo>
                    <a:pt x="435" y="335"/>
                  </a:moveTo>
                  <a:cubicBezTo>
                    <a:pt x="434" y="339"/>
                    <a:pt x="435" y="345"/>
                    <a:pt x="442" y="350"/>
                  </a:cubicBezTo>
                  <a:cubicBezTo>
                    <a:pt x="437" y="351"/>
                    <a:pt x="427" y="351"/>
                    <a:pt x="421" y="353"/>
                  </a:cubicBezTo>
                  <a:cubicBezTo>
                    <a:pt x="385" y="351"/>
                    <a:pt x="349" y="340"/>
                    <a:pt x="328" y="305"/>
                  </a:cubicBezTo>
                  <a:cubicBezTo>
                    <a:pt x="337" y="305"/>
                    <a:pt x="346" y="304"/>
                    <a:pt x="359" y="307"/>
                  </a:cubicBezTo>
                  <a:cubicBezTo>
                    <a:pt x="379" y="312"/>
                    <a:pt x="408" y="320"/>
                    <a:pt x="435" y="335"/>
                  </a:cubicBezTo>
                  <a:moveTo>
                    <a:pt x="322" y="306"/>
                  </a:moveTo>
                  <a:cubicBezTo>
                    <a:pt x="325" y="309"/>
                    <a:pt x="331" y="323"/>
                    <a:pt x="350" y="337"/>
                  </a:cubicBezTo>
                  <a:cubicBezTo>
                    <a:pt x="339" y="340"/>
                    <a:pt x="328" y="341"/>
                    <a:pt x="310" y="342"/>
                  </a:cubicBezTo>
                  <a:cubicBezTo>
                    <a:pt x="287" y="343"/>
                    <a:pt x="266" y="341"/>
                    <a:pt x="266" y="341"/>
                  </a:cubicBezTo>
                  <a:cubicBezTo>
                    <a:pt x="232" y="338"/>
                    <a:pt x="188" y="296"/>
                    <a:pt x="177" y="280"/>
                  </a:cubicBezTo>
                  <a:cubicBezTo>
                    <a:pt x="200" y="293"/>
                    <a:pt x="231" y="302"/>
                    <a:pt x="255" y="305"/>
                  </a:cubicBezTo>
                  <a:cubicBezTo>
                    <a:pt x="279" y="308"/>
                    <a:pt x="302" y="309"/>
                    <a:pt x="322" y="306"/>
                  </a:cubicBezTo>
                  <a:moveTo>
                    <a:pt x="691" y="256"/>
                  </a:moveTo>
                  <a:cubicBezTo>
                    <a:pt x="692" y="256"/>
                    <a:pt x="694" y="255"/>
                    <a:pt x="696" y="255"/>
                  </a:cubicBezTo>
                  <a:cubicBezTo>
                    <a:pt x="698" y="263"/>
                    <a:pt x="689" y="266"/>
                    <a:pt x="684" y="267"/>
                  </a:cubicBezTo>
                  <a:cubicBezTo>
                    <a:pt x="680" y="268"/>
                    <a:pt x="678" y="264"/>
                    <a:pt x="677" y="262"/>
                  </a:cubicBezTo>
                  <a:cubicBezTo>
                    <a:pt x="677" y="259"/>
                    <a:pt x="677" y="256"/>
                    <a:pt x="675" y="254"/>
                  </a:cubicBezTo>
                  <a:cubicBezTo>
                    <a:pt x="675" y="253"/>
                    <a:pt x="675" y="252"/>
                    <a:pt x="677" y="251"/>
                  </a:cubicBezTo>
                  <a:cubicBezTo>
                    <a:pt x="680" y="255"/>
                    <a:pt x="685" y="258"/>
                    <a:pt x="691" y="256"/>
                  </a:cubicBezTo>
                  <a:moveTo>
                    <a:pt x="1189" y="264"/>
                  </a:moveTo>
                  <a:cubicBezTo>
                    <a:pt x="1169" y="293"/>
                    <a:pt x="1130" y="317"/>
                    <a:pt x="1116" y="323"/>
                  </a:cubicBezTo>
                  <a:cubicBezTo>
                    <a:pt x="1105" y="328"/>
                    <a:pt x="1091" y="332"/>
                    <a:pt x="1068" y="326"/>
                  </a:cubicBezTo>
                  <a:cubicBezTo>
                    <a:pt x="1056" y="323"/>
                    <a:pt x="1045" y="318"/>
                    <a:pt x="1037" y="312"/>
                  </a:cubicBezTo>
                  <a:cubicBezTo>
                    <a:pt x="1021" y="299"/>
                    <a:pt x="1022" y="291"/>
                    <a:pt x="1022" y="287"/>
                  </a:cubicBezTo>
                  <a:cubicBezTo>
                    <a:pt x="1023" y="284"/>
                    <a:pt x="1028" y="277"/>
                    <a:pt x="1033" y="279"/>
                  </a:cubicBezTo>
                  <a:cubicBezTo>
                    <a:pt x="1090" y="293"/>
                    <a:pt x="1171" y="276"/>
                    <a:pt x="1189" y="264"/>
                  </a:cubicBezTo>
                  <a:moveTo>
                    <a:pt x="270" y="239"/>
                  </a:moveTo>
                  <a:cubicBezTo>
                    <a:pt x="311" y="246"/>
                    <a:pt x="309" y="283"/>
                    <a:pt x="319" y="299"/>
                  </a:cubicBezTo>
                  <a:cubicBezTo>
                    <a:pt x="284" y="301"/>
                    <a:pt x="269" y="302"/>
                    <a:pt x="242" y="296"/>
                  </a:cubicBezTo>
                  <a:cubicBezTo>
                    <a:pt x="148" y="275"/>
                    <a:pt x="130" y="230"/>
                    <a:pt x="104" y="170"/>
                  </a:cubicBezTo>
                  <a:cubicBezTo>
                    <a:pt x="150" y="211"/>
                    <a:pt x="251" y="236"/>
                    <a:pt x="270" y="239"/>
                  </a:cubicBezTo>
                  <a:moveTo>
                    <a:pt x="698" y="232"/>
                  </a:moveTo>
                  <a:cubicBezTo>
                    <a:pt x="697" y="235"/>
                    <a:pt x="699" y="234"/>
                    <a:pt x="702" y="237"/>
                  </a:cubicBezTo>
                  <a:cubicBezTo>
                    <a:pt x="702" y="242"/>
                    <a:pt x="698" y="246"/>
                    <a:pt x="694" y="249"/>
                  </a:cubicBezTo>
                  <a:cubicBezTo>
                    <a:pt x="690" y="251"/>
                    <a:pt x="684" y="252"/>
                    <a:pt x="680" y="249"/>
                  </a:cubicBezTo>
                  <a:cubicBezTo>
                    <a:pt x="678" y="248"/>
                    <a:pt x="672" y="246"/>
                    <a:pt x="672" y="246"/>
                  </a:cubicBezTo>
                  <a:cubicBezTo>
                    <a:pt x="672" y="237"/>
                    <a:pt x="683" y="232"/>
                    <a:pt x="691" y="229"/>
                  </a:cubicBezTo>
                  <a:cubicBezTo>
                    <a:pt x="694" y="228"/>
                    <a:pt x="697" y="229"/>
                    <a:pt x="698" y="232"/>
                  </a:cubicBezTo>
                  <a:moveTo>
                    <a:pt x="641" y="229"/>
                  </a:moveTo>
                  <a:cubicBezTo>
                    <a:pt x="651" y="232"/>
                    <a:pt x="668" y="249"/>
                    <a:pt x="672" y="257"/>
                  </a:cubicBezTo>
                  <a:cubicBezTo>
                    <a:pt x="673" y="264"/>
                    <a:pt x="670" y="271"/>
                    <a:pt x="666" y="276"/>
                  </a:cubicBezTo>
                  <a:cubicBezTo>
                    <a:pt x="662" y="277"/>
                    <a:pt x="658" y="281"/>
                    <a:pt x="656" y="285"/>
                  </a:cubicBezTo>
                  <a:cubicBezTo>
                    <a:pt x="657" y="281"/>
                    <a:pt x="656" y="277"/>
                    <a:pt x="654" y="274"/>
                  </a:cubicBezTo>
                  <a:cubicBezTo>
                    <a:pt x="650" y="271"/>
                    <a:pt x="645" y="267"/>
                    <a:pt x="644" y="262"/>
                  </a:cubicBezTo>
                  <a:cubicBezTo>
                    <a:pt x="629" y="263"/>
                    <a:pt x="607" y="263"/>
                    <a:pt x="599" y="256"/>
                  </a:cubicBezTo>
                  <a:cubicBezTo>
                    <a:pt x="599" y="253"/>
                    <a:pt x="598" y="250"/>
                    <a:pt x="595" y="247"/>
                  </a:cubicBezTo>
                  <a:cubicBezTo>
                    <a:pt x="599" y="246"/>
                    <a:pt x="617" y="248"/>
                    <a:pt x="626" y="248"/>
                  </a:cubicBezTo>
                  <a:cubicBezTo>
                    <a:pt x="636" y="248"/>
                    <a:pt x="648" y="248"/>
                    <a:pt x="651" y="252"/>
                  </a:cubicBezTo>
                  <a:cubicBezTo>
                    <a:pt x="651" y="254"/>
                    <a:pt x="649" y="254"/>
                    <a:pt x="648" y="254"/>
                  </a:cubicBezTo>
                  <a:cubicBezTo>
                    <a:pt x="647" y="255"/>
                    <a:pt x="646" y="254"/>
                    <a:pt x="645" y="255"/>
                  </a:cubicBezTo>
                  <a:cubicBezTo>
                    <a:pt x="648" y="259"/>
                    <a:pt x="654" y="260"/>
                    <a:pt x="659" y="259"/>
                  </a:cubicBezTo>
                  <a:cubicBezTo>
                    <a:pt x="661" y="257"/>
                    <a:pt x="663" y="255"/>
                    <a:pt x="661" y="251"/>
                  </a:cubicBezTo>
                  <a:cubicBezTo>
                    <a:pt x="658" y="246"/>
                    <a:pt x="652" y="245"/>
                    <a:pt x="644" y="243"/>
                  </a:cubicBezTo>
                  <a:cubicBezTo>
                    <a:pt x="635" y="242"/>
                    <a:pt x="592" y="242"/>
                    <a:pt x="592" y="242"/>
                  </a:cubicBezTo>
                  <a:cubicBezTo>
                    <a:pt x="587" y="237"/>
                    <a:pt x="577" y="229"/>
                    <a:pt x="571" y="226"/>
                  </a:cubicBezTo>
                  <a:cubicBezTo>
                    <a:pt x="570" y="223"/>
                    <a:pt x="574" y="220"/>
                    <a:pt x="576" y="221"/>
                  </a:cubicBezTo>
                  <a:cubicBezTo>
                    <a:pt x="593" y="227"/>
                    <a:pt x="622" y="227"/>
                    <a:pt x="641" y="229"/>
                  </a:cubicBezTo>
                  <a:moveTo>
                    <a:pt x="1076" y="236"/>
                  </a:moveTo>
                  <a:cubicBezTo>
                    <a:pt x="1074" y="244"/>
                    <a:pt x="1061" y="255"/>
                    <a:pt x="1051" y="260"/>
                  </a:cubicBezTo>
                  <a:cubicBezTo>
                    <a:pt x="1040" y="267"/>
                    <a:pt x="1024" y="271"/>
                    <a:pt x="1018" y="279"/>
                  </a:cubicBezTo>
                  <a:cubicBezTo>
                    <a:pt x="1011" y="286"/>
                    <a:pt x="949" y="303"/>
                    <a:pt x="919" y="311"/>
                  </a:cubicBezTo>
                  <a:cubicBezTo>
                    <a:pt x="890" y="318"/>
                    <a:pt x="866" y="325"/>
                    <a:pt x="838" y="329"/>
                  </a:cubicBezTo>
                  <a:cubicBezTo>
                    <a:pt x="833" y="325"/>
                    <a:pt x="825" y="325"/>
                    <a:pt x="819" y="326"/>
                  </a:cubicBezTo>
                  <a:cubicBezTo>
                    <a:pt x="827" y="311"/>
                    <a:pt x="824" y="301"/>
                    <a:pt x="811" y="297"/>
                  </a:cubicBezTo>
                  <a:cubicBezTo>
                    <a:pt x="953" y="246"/>
                    <a:pt x="953" y="246"/>
                    <a:pt x="953" y="246"/>
                  </a:cubicBezTo>
                  <a:cubicBezTo>
                    <a:pt x="979" y="238"/>
                    <a:pt x="1012" y="229"/>
                    <a:pt x="1034" y="228"/>
                  </a:cubicBezTo>
                  <a:cubicBezTo>
                    <a:pt x="1049" y="232"/>
                    <a:pt x="1058" y="236"/>
                    <a:pt x="1076" y="236"/>
                  </a:cubicBezTo>
                  <a:moveTo>
                    <a:pt x="687" y="221"/>
                  </a:moveTo>
                  <a:cubicBezTo>
                    <a:pt x="687" y="223"/>
                    <a:pt x="686" y="224"/>
                    <a:pt x="685" y="226"/>
                  </a:cubicBezTo>
                  <a:cubicBezTo>
                    <a:pt x="684" y="229"/>
                    <a:pt x="681" y="232"/>
                    <a:pt x="675" y="230"/>
                  </a:cubicBezTo>
                  <a:cubicBezTo>
                    <a:pt x="674" y="225"/>
                    <a:pt x="677" y="220"/>
                    <a:pt x="682" y="217"/>
                  </a:cubicBezTo>
                  <a:cubicBezTo>
                    <a:pt x="684" y="216"/>
                    <a:pt x="687" y="218"/>
                    <a:pt x="687" y="221"/>
                  </a:cubicBezTo>
                  <a:moveTo>
                    <a:pt x="672" y="214"/>
                  </a:moveTo>
                  <a:cubicBezTo>
                    <a:pt x="673" y="218"/>
                    <a:pt x="673" y="227"/>
                    <a:pt x="666" y="230"/>
                  </a:cubicBezTo>
                  <a:cubicBezTo>
                    <a:pt x="654" y="236"/>
                    <a:pt x="646" y="223"/>
                    <a:pt x="636" y="220"/>
                  </a:cubicBezTo>
                  <a:cubicBezTo>
                    <a:pt x="618" y="217"/>
                    <a:pt x="596" y="221"/>
                    <a:pt x="578" y="216"/>
                  </a:cubicBezTo>
                  <a:cubicBezTo>
                    <a:pt x="583" y="209"/>
                    <a:pt x="591" y="202"/>
                    <a:pt x="600" y="199"/>
                  </a:cubicBezTo>
                  <a:cubicBezTo>
                    <a:pt x="612" y="195"/>
                    <a:pt x="633" y="190"/>
                    <a:pt x="649" y="195"/>
                  </a:cubicBezTo>
                  <a:cubicBezTo>
                    <a:pt x="664" y="200"/>
                    <a:pt x="671" y="208"/>
                    <a:pt x="672" y="214"/>
                  </a:cubicBezTo>
                  <a:moveTo>
                    <a:pt x="996" y="211"/>
                  </a:moveTo>
                  <a:cubicBezTo>
                    <a:pt x="1007" y="215"/>
                    <a:pt x="1025" y="223"/>
                    <a:pt x="1017" y="225"/>
                  </a:cubicBezTo>
                  <a:cubicBezTo>
                    <a:pt x="954" y="236"/>
                    <a:pt x="912" y="253"/>
                    <a:pt x="804" y="295"/>
                  </a:cubicBezTo>
                  <a:cubicBezTo>
                    <a:pt x="800" y="295"/>
                    <a:pt x="796" y="295"/>
                    <a:pt x="792" y="297"/>
                  </a:cubicBezTo>
                  <a:cubicBezTo>
                    <a:pt x="793" y="291"/>
                    <a:pt x="793" y="285"/>
                    <a:pt x="786" y="278"/>
                  </a:cubicBezTo>
                  <a:cubicBezTo>
                    <a:pt x="781" y="273"/>
                    <a:pt x="773" y="271"/>
                    <a:pt x="760" y="275"/>
                  </a:cubicBezTo>
                  <a:cubicBezTo>
                    <a:pt x="792" y="255"/>
                    <a:pt x="824" y="234"/>
                    <a:pt x="860" y="221"/>
                  </a:cubicBezTo>
                  <a:cubicBezTo>
                    <a:pt x="889" y="210"/>
                    <a:pt x="920" y="205"/>
                    <a:pt x="953" y="204"/>
                  </a:cubicBezTo>
                  <a:cubicBezTo>
                    <a:pt x="974" y="204"/>
                    <a:pt x="986" y="207"/>
                    <a:pt x="996" y="211"/>
                  </a:cubicBezTo>
                  <a:moveTo>
                    <a:pt x="1210" y="232"/>
                  </a:moveTo>
                  <a:cubicBezTo>
                    <a:pt x="1207" y="239"/>
                    <a:pt x="1202" y="247"/>
                    <a:pt x="1192" y="255"/>
                  </a:cubicBezTo>
                  <a:cubicBezTo>
                    <a:pt x="1172" y="272"/>
                    <a:pt x="1073" y="286"/>
                    <a:pt x="1036" y="274"/>
                  </a:cubicBezTo>
                  <a:cubicBezTo>
                    <a:pt x="1076" y="258"/>
                    <a:pt x="1080" y="244"/>
                    <a:pt x="1082" y="234"/>
                  </a:cubicBezTo>
                  <a:cubicBezTo>
                    <a:pt x="1112" y="233"/>
                    <a:pt x="1157" y="229"/>
                    <a:pt x="1207" y="208"/>
                  </a:cubicBezTo>
                  <a:cubicBezTo>
                    <a:pt x="1213" y="206"/>
                    <a:pt x="1214" y="225"/>
                    <a:pt x="1210" y="232"/>
                  </a:cubicBezTo>
                  <a:moveTo>
                    <a:pt x="612" y="189"/>
                  </a:moveTo>
                  <a:cubicBezTo>
                    <a:pt x="598" y="191"/>
                    <a:pt x="581" y="194"/>
                    <a:pt x="570" y="213"/>
                  </a:cubicBezTo>
                  <a:cubicBezTo>
                    <a:pt x="565" y="209"/>
                    <a:pt x="567" y="201"/>
                    <a:pt x="572" y="194"/>
                  </a:cubicBezTo>
                  <a:cubicBezTo>
                    <a:pt x="576" y="189"/>
                    <a:pt x="591" y="183"/>
                    <a:pt x="612" y="189"/>
                  </a:cubicBezTo>
                  <a:moveTo>
                    <a:pt x="1259" y="133"/>
                  </a:moveTo>
                  <a:cubicBezTo>
                    <a:pt x="1253" y="149"/>
                    <a:pt x="1232" y="186"/>
                    <a:pt x="1209" y="198"/>
                  </a:cubicBezTo>
                  <a:cubicBezTo>
                    <a:pt x="1177" y="216"/>
                    <a:pt x="1132" y="223"/>
                    <a:pt x="1098" y="227"/>
                  </a:cubicBezTo>
                  <a:cubicBezTo>
                    <a:pt x="1070" y="231"/>
                    <a:pt x="1049" y="226"/>
                    <a:pt x="1039" y="223"/>
                  </a:cubicBezTo>
                  <a:cubicBezTo>
                    <a:pt x="1039" y="223"/>
                    <a:pt x="1029" y="219"/>
                    <a:pt x="1025" y="217"/>
                  </a:cubicBezTo>
                  <a:cubicBezTo>
                    <a:pt x="1077" y="189"/>
                    <a:pt x="1139" y="170"/>
                    <a:pt x="1205" y="153"/>
                  </a:cubicBezTo>
                  <a:cubicBezTo>
                    <a:pt x="1242" y="140"/>
                    <a:pt x="1246" y="139"/>
                    <a:pt x="1259" y="133"/>
                  </a:cubicBezTo>
                  <a:moveTo>
                    <a:pt x="1257" y="83"/>
                  </a:moveTo>
                  <a:cubicBezTo>
                    <a:pt x="1238" y="125"/>
                    <a:pt x="1226" y="138"/>
                    <a:pt x="1198" y="148"/>
                  </a:cubicBezTo>
                  <a:cubicBezTo>
                    <a:pt x="1198" y="148"/>
                    <a:pt x="1105" y="176"/>
                    <a:pt x="1082" y="185"/>
                  </a:cubicBezTo>
                  <a:cubicBezTo>
                    <a:pt x="1054" y="196"/>
                    <a:pt x="1033" y="207"/>
                    <a:pt x="1019" y="215"/>
                  </a:cubicBezTo>
                  <a:cubicBezTo>
                    <a:pt x="970" y="185"/>
                    <a:pt x="880" y="207"/>
                    <a:pt x="858" y="216"/>
                  </a:cubicBezTo>
                  <a:cubicBezTo>
                    <a:pt x="822" y="229"/>
                    <a:pt x="786" y="251"/>
                    <a:pt x="756" y="272"/>
                  </a:cubicBezTo>
                  <a:cubicBezTo>
                    <a:pt x="752" y="268"/>
                    <a:pt x="746" y="260"/>
                    <a:pt x="741" y="260"/>
                  </a:cubicBezTo>
                  <a:cubicBezTo>
                    <a:pt x="741" y="260"/>
                    <a:pt x="756" y="269"/>
                    <a:pt x="753" y="286"/>
                  </a:cubicBezTo>
                  <a:cubicBezTo>
                    <a:pt x="757" y="284"/>
                    <a:pt x="772" y="273"/>
                    <a:pt x="782" y="282"/>
                  </a:cubicBezTo>
                  <a:cubicBezTo>
                    <a:pt x="793" y="291"/>
                    <a:pt x="782" y="302"/>
                    <a:pt x="779" y="311"/>
                  </a:cubicBezTo>
                  <a:cubicBezTo>
                    <a:pt x="790" y="302"/>
                    <a:pt x="802" y="295"/>
                    <a:pt x="814" y="303"/>
                  </a:cubicBezTo>
                  <a:cubicBezTo>
                    <a:pt x="827" y="312"/>
                    <a:pt x="812" y="328"/>
                    <a:pt x="808" y="336"/>
                  </a:cubicBezTo>
                  <a:cubicBezTo>
                    <a:pt x="817" y="334"/>
                    <a:pt x="828" y="326"/>
                    <a:pt x="835" y="337"/>
                  </a:cubicBezTo>
                  <a:cubicBezTo>
                    <a:pt x="842" y="347"/>
                    <a:pt x="831" y="352"/>
                    <a:pt x="821" y="358"/>
                  </a:cubicBezTo>
                  <a:cubicBezTo>
                    <a:pt x="831" y="357"/>
                    <a:pt x="832" y="365"/>
                    <a:pt x="859" y="367"/>
                  </a:cubicBezTo>
                  <a:cubicBezTo>
                    <a:pt x="846" y="368"/>
                    <a:pt x="833" y="369"/>
                    <a:pt x="824" y="370"/>
                  </a:cubicBezTo>
                  <a:cubicBezTo>
                    <a:pt x="818" y="369"/>
                    <a:pt x="811" y="365"/>
                    <a:pt x="799" y="362"/>
                  </a:cubicBezTo>
                  <a:cubicBezTo>
                    <a:pt x="767" y="353"/>
                    <a:pt x="748" y="343"/>
                    <a:pt x="735" y="339"/>
                  </a:cubicBezTo>
                  <a:cubicBezTo>
                    <a:pt x="723" y="335"/>
                    <a:pt x="708" y="333"/>
                    <a:pt x="698" y="336"/>
                  </a:cubicBezTo>
                  <a:cubicBezTo>
                    <a:pt x="693" y="336"/>
                    <a:pt x="693" y="338"/>
                    <a:pt x="689" y="339"/>
                  </a:cubicBezTo>
                  <a:cubicBezTo>
                    <a:pt x="731" y="324"/>
                    <a:pt x="718" y="273"/>
                    <a:pt x="738" y="242"/>
                  </a:cubicBezTo>
                  <a:cubicBezTo>
                    <a:pt x="759" y="204"/>
                    <a:pt x="801" y="195"/>
                    <a:pt x="839" y="188"/>
                  </a:cubicBezTo>
                  <a:cubicBezTo>
                    <a:pt x="889" y="181"/>
                    <a:pt x="966" y="174"/>
                    <a:pt x="989" y="169"/>
                  </a:cubicBezTo>
                  <a:cubicBezTo>
                    <a:pt x="1030" y="161"/>
                    <a:pt x="1081" y="144"/>
                    <a:pt x="1092" y="139"/>
                  </a:cubicBezTo>
                  <a:cubicBezTo>
                    <a:pt x="1104" y="133"/>
                    <a:pt x="1160" y="113"/>
                    <a:pt x="1181" y="106"/>
                  </a:cubicBezTo>
                  <a:cubicBezTo>
                    <a:pt x="1203" y="98"/>
                    <a:pt x="1231" y="88"/>
                    <a:pt x="1257" y="83"/>
                  </a:cubicBezTo>
                  <a:moveTo>
                    <a:pt x="1206" y="285"/>
                  </a:moveTo>
                  <a:cubicBezTo>
                    <a:pt x="1164" y="319"/>
                    <a:pt x="1151" y="370"/>
                    <a:pt x="1148" y="385"/>
                  </a:cubicBezTo>
                  <a:cubicBezTo>
                    <a:pt x="1141" y="430"/>
                    <a:pt x="1140" y="481"/>
                    <a:pt x="1148" y="525"/>
                  </a:cubicBezTo>
                  <a:cubicBezTo>
                    <a:pt x="1170" y="665"/>
                    <a:pt x="1170" y="665"/>
                    <a:pt x="1170" y="665"/>
                  </a:cubicBezTo>
                  <a:cubicBezTo>
                    <a:pt x="1177" y="726"/>
                    <a:pt x="1177" y="726"/>
                    <a:pt x="1177" y="726"/>
                  </a:cubicBezTo>
                  <a:cubicBezTo>
                    <a:pt x="1180" y="797"/>
                    <a:pt x="1180" y="797"/>
                    <a:pt x="1180" y="797"/>
                  </a:cubicBezTo>
                  <a:cubicBezTo>
                    <a:pt x="1184" y="962"/>
                    <a:pt x="1105" y="1183"/>
                    <a:pt x="834" y="1272"/>
                  </a:cubicBezTo>
                  <a:cubicBezTo>
                    <a:pt x="768" y="1298"/>
                    <a:pt x="768" y="1298"/>
                    <a:pt x="768" y="1298"/>
                  </a:cubicBezTo>
                  <a:cubicBezTo>
                    <a:pt x="713" y="1322"/>
                    <a:pt x="659" y="1348"/>
                    <a:pt x="612" y="1391"/>
                  </a:cubicBezTo>
                  <a:cubicBezTo>
                    <a:pt x="546" y="1333"/>
                    <a:pt x="469" y="1301"/>
                    <a:pt x="391" y="1271"/>
                  </a:cubicBezTo>
                  <a:cubicBezTo>
                    <a:pt x="142" y="1192"/>
                    <a:pt x="55" y="982"/>
                    <a:pt x="50" y="837"/>
                  </a:cubicBezTo>
                  <a:cubicBezTo>
                    <a:pt x="48" y="789"/>
                    <a:pt x="50" y="737"/>
                    <a:pt x="56" y="688"/>
                  </a:cubicBezTo>
                  <a:cubicBezTo>
                    <a:pt x="66" y="614"/>
                    <a:pt x="66" y="614"/>
                    <a:pt x="66" y="614"/>
                  </a:cubicBezTo>
                  <a:cubicBezTo>
                    <a:pt x="83" y="515"/>
                    <a:pt x="83" y="515"/>
                    <a:pt x="83" y="515"/>
                  </a:cubicBezTo>
                  <a:cubicBezTo>
                    <a:pt x="91" y="458"/>
                    <a:pt x="91" y="395"/>
                    <a:pt x="73" y="344"/>
                  </a:cubicBezTo>
                  <a:cubicBezTo>
                    <a:pt x="63" y="320"/>
                    <a:pt x="46" y="299"/>
                    <a:pt x="26" y="281"/>
                  </a:cubicBezTo>
                  <a:cubicBezTo>
                    <a:pt x="49" y="250"/>
                    <a:pt x="75" y="216"/>
                    <a:pt x="98" y="185"/>
                  </a:cubicBezTo>
                  <a:cubicBezTo>
                    <a:pt x="99" y="186"/>
                    <a:pt x="99" y="187"/>
                    <a:pt x="100" y="188"/>
                  </a:cubicBezTo>
                  <a:cubicBezTo>
                    <a:pt x="100" y="188"/>
                    <a:pt x="100" y="189"/>
                    <a:pt x="100" y="189"/>
                  </a:cubicBezTo>
                  <a:cubicBezTo>
                    <a:pt x="104" y="200"/>
                    <a:pt x="108" y="209"/>
                    <a:pt x="112" y="214"/>
                  </a:cubicBezTo>
                  <a:cubicBezTo>
                    <a:pt x="114" y="218"/>
                    <a:pt x="116" y="221"/>
                    <a:pt x="118" y="224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127" y="332"/>
                    <a:pt x="129" y="410"/>
                    <a:pt x="127" y="483"/>
                  </a:cubicBezTo>
                  <a:cubicBezTo>
                    <a:pt x="121" y="528"/>
                    <a:pt x="121" y="528"/>
                    <a:pt x="121" y="528"/>
                  </a:cubicBezTo>
                  <a:cubicBezTo>
                    <a:pt x="100" y="658"/>
                    <a:pt x="100" y="658"/>
                    <a:pt x="100" y="658"/>
                  </a:cubicBezTo>
                  <a:cubicBezTo>
                    <a:pt x="91" y="731"/>
                    <a:pt x="91" y="731"/>
                    <a:pt x="91" y="731"/>
                  </a:cubicBezTo>
                  <a:cubicBezTo>
                    <a:pt x="89" y="799"/>
                    <a:pt x="89" y="799"/>
                    <a:pt x="89" y="799"/>
                  </a:cubicBezTo>
                  <a:cubicBezTo>
                    <a:pt x="80" y="965"/>
                    <a:pt x="207" y="1177"/>
                    <a:pt x="438" y="1246"/>
                  </a:cubicBezTo>
                  <a:cubicBezTo>
                    <a:pt x="499" y="1271"/>
                    <a:pt x="558" y="1299"/>
                    <a:pt x="612" y="1338"/>
                  </a:cubicBezTo>
                  <a:cubicBezTo>
                    <a:pt x="666" y="1299"/>
                    <a:pt x="725" y="1271"/>
                    <a:pt x="786" y="1248"/>
                  </a:cubicBezTo>
                  <a:cubicBezTo>
                    <a:pt x="1054" y="1172"/>
                    <a:pt x="1136" y="965"/>
                    <a:pt x="1139" y="828"/>
                  </a:cubicBezTo>
                  <a:cubicBezTo>
                    <a:pt x="1142" y="778"/>
                    <a:pt x="1137" y="728"/>
                    <a:pt x="1132" y="680"/>
                  </a:cubicBezTo>
                  <a:cubicBezTo>
                    <a:pt x="1122" y="611"/>
                    <a:pt x="1122" y="611"/>
                    <a:pt x="1122" y="611"/>
                  </a:cubicBezTo>
                  <a:cubicBezTo>
                    <a:pt x="1108" y="526"/>
                    <a:pt x="1108" y="526"/>
                    <a:pt x="1108" y="526"/>
                  </a:cubicBezTo>
                  <a:cubicBezTo>
                    <a:pt x="1100" y="479"/>
                    <a:pt x="1101" y="421"/>
                    <a:pt x="1110" y="375"/>
                  </a:cubicBezTo>
                  <a:cubicBezTo>
                    <a:pt x="1124" y="368"/>
                    <a:pt x="1140" y="354"/>
                    <a:pt x="1149" y="324"/>
                  </a:cubicBezTo>
                  <a:cubicBezTo>
                    <a:pt x="1150" y="320"/>
                    <a:pt x="1150" y="320"/>
                    <a:pt x="1150" y="320"/>
                  </a:cubicBezTo>
                  <a:cubicBezTo>
                    <a:pt x="1166" y="309"/>
                    <a:pt x="1185" y="292"/>
                    <a:pt x="1198" y="274"/>
                  </a:cubicBezTo>
                  <a:cubicBezTo>
                    <a:pt x="1200" y="275"/>
                    <a:pt x="1202" y="278"/>
                    <a:pt x="1206" y="285"/>
                  </a:cubicBezTo>
                  <a:moveTo>
                    <a:pt x="654" y="446"/>
                  </a:moveTo>
                  <a:cubicBezTo>
                    <a:pt x="649" y="455"/>
                    <a:pt x="644" y="461"/>
                    <a:pt x="626" y="462"/>
                  </a:cubicBezTo>
                  <a:cubicBezTo>
                    <a:pt x="603" y="463"/>
                    <a:pt x="597" y="450"/>
                    <a:pt x="597" y="450"/>
                  </a:cubicBezTo>
                  <a:cubicBezTo>
                    <a:pt x="599" y="457"/>
                    <a:pt x="604" y="472"/>
                    <a:pt x="626" y="471"/>
                  </a:cubicBezTo>
                  <a:cubicBezTo>
                    <a:pt x="654" y="469"/>
                    <a:pt x="654" y="446"/>
                    <a:pt x="654" y="446"/>
                  </a:cubicBezTo>
                  <a:moveTo>
                    <a:pt x="685" y="353"/>
                  </a:moveTo>
                  <a:cubicBezTo>
                    <a:pt x="657" y="380"/>
                    <a:pt x="690" y="446"/>
                    <a:pt x="671" y="473"/>
                  </a:cubicBezTo>
                  <a:cubicBezTo>
                    <a:pt x="669" y="476"/>
                    <a:pt x="667" y="480"/>
                    <a:pt x="665" y="483"/>
                  </a:cubicBezTo>
                  <a:cubicBezTo>
                    <a:pt x="651" y="478"/>
                    <a:pt x="642" y="477"/>
                    <a:pt x="629" y="477"/>
                  </a:cubicBezTo>
                  <a:cubicBezTo>
                    <a:pt x="621" y="477"/>
                    <a:pt x="613" y="479"/>
                    <a:pt x="607" y="480"/>
                  </a:cubicBezTo>
                  <a:cubicBezTo>
                    <a:pt x="592" y="481"/>
                    <a:pt x="581" y="479"/>
                    <a:pt x="567" y="482"/>
                  </a:cubicBezTo>
                  <a:cubicBezTo>
                    <a:pt x="568" y="479"/>
                    <a:pt x="570" y="477"/>
                    <a:pt x="573" y="473"/>
                  </a:cubicBezTo>
                  <a:cubicBezTo>
                    <a:pt x="560" y="473"/>
                    <a:pt x="550" y="471"/>
                    <a:pt x="543" y="461"/>
                  </a:cubicBezTo>
                  <a:cubicBezTo>
                    <a:pt x="539" y="455"/>
                    <a:pt x="538" y="447"/>
                    <a:pt x="540" y="441"/>
                  </a:cubicBezTo>
                  <a:cubicBezTo>
                    <a:pt x="544" y="431"/>
                    <a:pt x="554" y="422"/>
                    <a:pt x="558" y="413"/>
                  </a:cubicBezTo>
                  <a:cubicBezTo>
                    <a:pt x="558" y="413"/>
                    <a:pt x="566" y="401"/>
                    <a:pt x="568" y="387"/>
                  </a:cubicBezTo>
                  <a:cubicBezTo>
                    <a:pt x="570" y="392"/>
                    <a:pt x="572" y="399"/>
                    <a:pt x="584" y="402"/>
                  </a:cubicBezTo>
                  <a:cubicBezTo>
                    <a:pt x="596" y="405"/>
                    <a:pt x="608" y="401"/>
                    <a:pt x="629" y="390"/>
                  </a:cubicBezTo>
                  <a:cubicBezTo>
                    <a:pt x="620" y="405"/>
                    <a:pt x="606" y="414"/>
                    <a:pt x="581" y="418"/>
                  </a:cubicBezTo>
                  <a:cubicBezTo>
                    <a:pt x="590" y="420"/>
                    <a:pt x="606" y="417"/>
                    <a:pt x="623" y="408"/>
                  </a:cubicBezTo>
                  <a:cubicBezTo>
                    <a:pt x="643" y="397"/>
                    <a:pt x="669" y="362"/>
                    <a:pt x="669" y="362"/>
                  </a:cubicBezTo>
                  <a:cubicBezTo>
                    <a:pt x="675" y="357"/>
                    <a:pt x="687" y="352"/>
                    <a:pt x="685" y="353"/>
                  </a:cubicBezTo>
                  <a:moveTo>
                    <a:pt x="802" y="969"/>
                  </a:moveTo>
                  <a:cubicBezTo>
                    <a:pt x="737" y="900"/>
                    <a:pt x="673" y="796"/>
                    <a:pt x="665" y="792"/>
                  </a:cubicBezTo>
                  <a:cubicBezTo>
                    <a:pt x="665" y="792"/>
                    <a:pt x="744" y="913"/>
                    <a:pt x="759" y="934"/>
                  </a:cubicBezTo>
                  <a:cubicBezTo>
                    <a:pt x="773" y="954"/>
                    <a:pt x="793" y="974"/>
                    <a:pt x="802" y="990"/>
                  </a:cubicBezTo>
                  <a:cubicBezTo>
                    <a:pt x="805" y="985"/>
                    <a:pt x="810" y="977"/>
                    <a:pt x="802" y="969"/>
                  </a:cubicBezTo>
                  <a:moveTo>
                    <a:pt x="1035" y="1005"/>
                  </a:moveTo>
                  <a:cubicBezTo>
                    <a:pt x="1021" y="1003"/>
                    <a:pt x="1008" y="1004"/>
                    <a:pt x="1003" y="1018"/>
                  </a:cubicBezTo>
                  <a:cubicBezTo>
                    <a:pt x="995" y="1035"/>
                    <a:pt x="991" y="1048"/>
                    <a:pt x="985" y="1057"/>
                  </a:cubicBezTo>
                  <a:cubicBezTo>
                    <a:pt x="978" y="1069"/>
                    <a:pt x="967" y="1080"/>
                    <a:pt x="948" y="1085"/>
                  </a:cubicBezTo>
                  <a:cubicBezTo>
                    <a:pt x="929" y="1090"/>
                    <a:pt x="902" y="1091"/>
                    <a:pt x="899" y="1080"/>
                  </a:cubicBezTo>
                  <a:cubicBezTo>
                    <a:pt x="903" y="1057"/>
                    <a:pt x="935" y="1053"/>
                    <a:pt x="949" y="1046"/>
                  </a:cubicBezTo>
                  <a:cubicBezTo>
                    <a:pt x="974" y="1034"/>
                    <a:pt x="976" y="1012"/>
                    <a:pt x="977" y="989"/>
                  </a:cubicBezTo>
                  <a:cubicBezTo>
                    <a:pt x="942" y="966"/>
                    <a:pt x="870" y="909"/>
                    <a:pt x="870" y="909"/>
                  </a:cubicBezTo>
                  <a:cubicBezTo>
                    <a:pt x="870" y="909"/>
                    <a:pt x="932" y="971"/>
                    <a:pt x="966" y="994"/>
                  </a:cubicBezTo>
                  <a:cubicBezTo>
                    <a:pt x="966" y="1013"/>
                    <a:pt x="961" y="1024"/>
                    <a:pt x="945" y="1033"/>
                  </a:cubicBezTo>
                  <a:cubicBezTo>
                    <a:pt x="935" y="1038"/>
                    <a:pt x="924" y="1042"/>
                    <a:pt x="909" y="1049"/>
                  </a:cubicBezTo>
                  <a:cubicBezTo>
                    <a:pt x="885" y="1063"/>
                    <a:pt x="892" y="1083"/>
                    <a:pt x="859" y="1096"/>
                  </a:cubicBezTo>
                  <a:cubicBezTo>
                    <a:pt x="845" y="1101"/>
                    <a:pt x="812" y="1105"/>
                    <a:pt x="821" y="1087"/>
                  </a:cubicBezTo>
                  <a:cubicBezTo>
                    <a:pt x="833" y="1069"/>
                    <a:pt x="820" y="1069"/>
                    <a:pt x="820" y="1069"/>
                  </a:cubicBezTo>
                  <a:cubicBezTo>
                    <a:pt x="812" y="1071"/>
                    <a:pt x="792" y="1076"/>
                    <a:pt x="782" y="1077"/>
                  </a:cubicBezTo>
                  <a:cubicBezTo>
                    <a:pt x="775" y="1077"/>
                    <a:pt x="769" y="1072"/>
                    <a:pt x="774" y="1067"/>
                  </a:cubicBezTo>
                  <a:cubicBezTo>
                    <a:pt x="776" y="1065"/>
                    <a:pt x="780" y="1064"/>
                    <a:pt x="783" y="1061"/>
                  </a:cubicBezTo>
                  <a:cubicBezTo>
                    <a:pt x="788" y="1057"/>
                    <a:pt x="791" y="1055"/>
                    <a:pt x="793" y="1051"/>
                  </a:cubicBezTo>
                  <a:cubicBezTo>
                    <a:pt x="797" y="1045"/>
                    <a:pt x="799" y="1036"/>
                    <a:pt x="796" y="1034"/>
                  </a:cubicBezTo>
                  <a:cubicBezTo>
                    <a:pt x="791" y="1032"/>
                    <a:pt x="784" y="1033"/>
                    <a:pt x="781" y="1037"/>
                  </a:cubicBezTo>
                  <a:cubicBezTo>
                    <a:pt x="767" y="1052"/>
                    <a:pt x="766" y="1078"/>
                    <a:pt x="727" y="1070"/>
                  </a:cubicBezTo>
                  <a:cubicBezTo>
                    <a:pt x="727" y="1070"/>
                    <a:pt x="681" y="1060"/>
                    <a:pt x="718" y="1007"/>
                  </a:cubicBezTo>
                  <a:cubicBezTo>
                    <a:pt x="729" y="994"/>
                    <a:pt x="700" y="977"/>
                    <a:pt x="683" y="956"/>
                  </a:cubicBezTo>
                  <a:cubicBezTo>
                    <a:pt x="650" y="916"/>
                    <a:pt x="557" y="766"/>
                    <a:pt x="557" y="766"/>
                  </a:cubicBezTo>
                  <a:cubicBezTo>
                    <a:pt x="547" y="752"/>
                    <a:pt x="537" y="735"/>
                    <a:pt x="528" y="722"/>
                  </a:cubicBezTo>
                  <a:cubicBezTo>
                    <a:pt x="520" y="708"/>
                    <a:pt x="517" y="679"/>
                    <a:pt x="537" y="682"/>
                  </a:cubicBezTo>
                  <a:cubicBezTo>
                    <a:pt x="547" y="684"/>
                    <a:pt x="550" y="688"/>
                    <a:pt x="561" y="683"/>
                  </a:cubicBezTo>
                  <a:cubicBezTo>
                    <a:pt x="568" y="680"/>
                    <a:pt x="568" y="692"/>
                    <a:pt x="561" y="698"/>
                  </a:cubicBezTo>
                  <a:cubicBezTo>
                    <a:pt x="556" y="702"/>
                    <a:pt x="556" y="711"/>
                    <a:pt x="562" y="716"/>
                  </a:cubicBezTo>
                  <a:cubicBezTo>
                    <a:pt x="570" y="720"/>
                    <a:pt x="572" y="711"/>
                    <a:pt x="581" y="714"/>
                  </a:cubicBezTo>
                  <a:cubicBezTo>
                    <a:pt x="590" y="716"/>
                    <a:pt x="597" y="738"/>
                    <a:pt x="613" y="743"/>
                  </a:cubicBezTo>
                  <a:cubicBezTo>
                    <a:pt x="617" y="744"/>
                    <a:pt x="620" y="744"/>
                    <a:pt x="621" y="741"/>
                  </a:cubicBezTo>
                  <a:cubicBezTo>
                    <a:pt x="623" y="734"/>
                    <a:pt x="616" y="725"/>
                    <a:pt x="618" y="717"/>
                  </a:cubicBezTo>
                  <a:cubicBezTo>
                    <a:pt x="620" y="722"/>
                    <a:pt x="627" y="727"/>
                    <a:pt x="637" y="732"/>
                  </a:cubicBezTo>
                  <a:cubicBezTo>
                    <a:pt x="648" y="739"/>
                    <a:pt x="654" y="740"/>
                    <a:pt x="651" y="731"/>
                  </a:cubicBezTo>
                  <a:cubicBezTo>
                    <a:pt x="648" y="720"/>
                    <a:pt x="646" y="713"/>
                    <a:pt x="646" y="713"/>
                  </a:cubicBezTo>
                  <a:cubicBezTo>
                    <a:pt x="645" y="705"/>
                    <a:pt x="652" y="699"/>
                    <a:pt x="658" y="699"/>
                  </a:cubicBezTo>
                  <a:cubicBezTo>
                    <a:pt x="661" y="699"/>
                    <a:pt x="664" y="701"/>
                    <a:pt x="666" y="705"/>
                  </a:cubicBezTo>
                  <a:cubicBezTo>
                    <a:pt x="674" y="718"/>
                    <a:pt x="670" y="725"/>
                    <a:pt x="686" y="730"/>
                  </a:cubicBezTo>
                  <a:cubicBezTo>
                    <a:pt x="711" y="782"/>
                    <a:pt x="773" y="847"/>
                    <a:pt x="798" y="868"/>
                  </a:cubicBezTo>
                  <a:cubicBezTo>
                    <a:pt x="803" y="872"/>
                    <a:pt x="812" y="877"/>
                    <a:pt x="820" y="880"/>
                  </a:cubicBezTo>
                  <a:cubicBezTo>
                    <a:pt x="814" y="875"/>
                    <a:pt x="805" y="867"/>
                    <a:pt x="801" y="863"/>
                  </a:cubicBezTo>
                  <a:cubicBezTo>
                    <a:pt x="736" y="800"/>
                    <a:pt x="695" y="742"/>
                    <a:pt x="696" y="730"/>
                  </a:cubicBezTo>
                  <a:cubicBezTo>
                    <a:pt x="714" y="722"/>
                    <a:pt x="717" y="704"/>
                    <a:pt x="723" y="707"/>
                  </a:cubicBezTo>
                  <a:cubicBezTo>
                    <a:pt x="725" y="708"/>
                    <a:pt x="717" y="723"/>
                    <a:pt x="718" y="731"/>
                  </a:cubicBezTo>
                  <a:cubicBezTo>
                    <a:pt x="719" y="735"/>
                    <a:pt x="724" y="741"/>
                    <a:pt x="735" y="741"/>
                  </a:cubicBezTo>
                  <a:cubicBezTo>
                    <a:pt x="714" y="762"/>
                    <a:pt x="768" y="780"/>
                    <a:pt x="808" y="779"/>
                  </a:cubicBezTo>
                  <a:cubicBezTo>
                    <a:pt x="823" y="788"/>
                    <a:pt x="848" y="803"/>
                    <a:pt x="878" y="810"/>
                  </a:cubicBezTo>
                  <a:cubicBezTo>
                    <a:pt x="878" y="810"/>
                    <a:pt x="881" y="824"/>
                    <a:pt x="890" y="825"/>
                  </a:cubicBezTo>
                  <a:cubicBezTo>
                    <a:pt x="890" y="825"/>
                    <a:pt x="912" y="859"/>
                    <a:pt x="943" y="892"/>
                  </a:cubicBezTo>
                  <a:cubicBezTo>
                    <a:pt x="973" y="924"/>
                    <a:pt x="1007" y="977"/>
                    <a:pt x="1035" y="1005"/>
                  </a:cubicBezTo>
                  <a:moveTo>
                    <a:pt x="679" y="342"/>
                  </a:moveTo>
                  <a:cubicBezTo>
                    <a:pt x="661" y="355"/>
                    <a:pt x="657" y="367"/>
                    <a:pt x="627" y="382"/>
                  </a:cubicBezTo>
                  <a:cubicBezTo>
                    <a:pt x="610" y="391"/>
                    <a:pt x="593" y="398"/>
                    <a:pt x="582" y="393"/>
                  </a:cubicBezTo>
                  <a:cubicBezTo>
                    <a:pt x="571" y="387"/>
                    <a:pt x="575" y="367"/>
                    <a:pt x="575" y="364"/>
                  </a:cubicBezTo>
                  <a:cubicBezTo>
                    <a:pt x="575" y="362"/>
                    <a:pt x="575" y="359"/>
                    <a:pt x="575" y="357"/>
                  </a:cubicBezTo>
                  <a:cubicBezTo>
                    <a:pt x="583" y="353"/>
                    <a:pt x="595" y="355"/>
                    <a:pt x="598" y="345"/>
                  </a:cubicBezTo>
                  <a:cubicBezTo>
                    <a:pt x="601" y="337"/>
                    <a:pt x="600" y="327"/>
                    <a:pt x="602" y="318"/>
                  </a:cubicBezTo>
                  <a:cubicBezTo>
                    <a:pt x="606" y="311"/>
                    <a:pt x="617" y="307"/>
                    <a:pt x="619" y="299"/>
                  </a:cubicBezTo>
                  <a:cubicBezTo>
                    <a:pt x="605" y="308"/>
                    <a:pt x="594" y="321"/>
                    <a:pt x="576" y="320"/>
                  </a:cubicBezTo>
                  <a:cubicBezTo>
                    <a:pt x="571" y="319"/>
                    <a:pt x="575" y="312"/>
                    <a:pt x="572" y="309"/>
                  </a:cubicBezTo>
                  <a:cubicBezTo>
                    <a:pt x="568" y="308"/>
                    <a:pt x="568" y="305"/>
                    <a:pt x="568" y="302"/>
                  </a:cubicBezTo>
                  <a:cubicBezTo>
                    <a:pt x="569" y="303"/>
                    <a:pt x="570" y="303"/>
                    <a:pt x="571" y="303"/>
                  </a:cubicBezTo>
                  <a:cubicBezTo>
                    <a:pt x="571" y="303"/>
                    <a:pt x="572" y="302"/>
                    <a:pt x="572" y="301"/>
                  </a:cubicBezTo>
                  <a:cubicBezTo>
                    <a:pt x="572" y="300"/>
                    <a:pt x="571" y="300"/>
                    <a:pt x="571" y="300"/>
                  </a:cubicBezTo>
                  <a:cubicBezTo>
                    <a:pt x="570" y="300"/>
                    <a:pt x="568" y="300"/>
                    <a:pt x="566" y="299"/>
                  </a:cubicBezTo>
                  <a:cubicBezTo>
                    <a:pt x="566" y="299"/>
                    <a:pt x="566" y="299"/>
                    <a:pt x="566" y="299"/>
                  </a:cubicBezTo>
                  <a:cubicBezTo>
                    <a:pt x="565" y="296"/>
                    <a:pt x="567" y="292"/>
                    <a:pt x="565" y="290"/>
                  </a:cubicBezTo>
                  <a:cubicBezTo>
                    <a:pt x="556" y="288"/>
                    <a:pt x="556" y="288"/>
                    <a:pt x="556" y="288"/>
                  </a:cubicBezTo>
                  <a:cubicBezTo>
                    <a:pt x="557" y="279"/>
                    <a:pt x="563" y="272"/>
                    <a:pt x="563" y="262"/>
                  </a:cubicBezTo>
                  <a:cubicBezTo>
                    <a:pt x="565" y="264"/>
                    <a:pt x="570" y="263"/>
                    <a:pt x="568" y="267"/>
                  </a:cubicBezTo>
                  <a:cubicBezTo>
                    <a:pt x="566" y="268"/>
                    <a:pt x="567" y="271"/>
                    <a:pt x="567" y="272"/>
                  </a:cubicBezTo>
                  <a:cubicBezTo>
                    <a:pt x="567" y="268"/>
                    <a:pt x="582" y="262"/>
                    <a:pt x="574" y="260"/>
                  </a:cubicBezTo>
                  <a:cubicBezTo>
                    <a:pt x="570" y="259"/>
                    <a:pt x="560" y="261"/>
                    <a:pt x="560" y="256"/>
                  </a:cubicBezTo>
                  <a:cubicBezTo>
                    <a:pt x="560" y="248"/>
                    <a:pt x="563" y="241"/>
                    <a:pt x="567" y="235"/>
                  </a:cubicBezTo>
                  <a:cubicBezTo>
                    <a:pt x="576" y="242"/>
                    <a:pt x="588" y="249"/>
                    <a:pt x="591" y="261"/>
                  </a:cubicBezTo>
                  <a:cubicBezTo>
                    <a:pt x="594" y="264"/>
                    <a:pt x="598" y="269"/>
                    <a:pt x="602" y="269"/>
                  </a:cubicBezTo>
                  <a:cubicBezTo>
                    <a:pt x="612" y="265"/>
                    <a:pt x="617" y="275"/>
                    <a:pt x="627" y="274"/>
                  </a:cubicBezTo>
                  <a:cubicBezTo>
                    <a:pt x="627" y="272"/>
                    <a:pt x="628" y="270"/>
                    <a:pt x="630" y="269"/>
                  </a:cubicBezTo>
                  <a:cubicBezTo>
                    <a:pt x="632" y="268"/>
                    <a:pt x="635" y="269"/>
                    <a:pt x="636" y="271"/>
                  </a:cubicBezTo>
                  <a:cubicBezTo>
                    <a:pt x="637" y="276"/>
                    <a:pt x="634" y="279"/>
                    <a:pt x="632" y="282"/>
                  </a:cubicBezTo>
                  <a:cubicBezTo>
                    <a:pt x="629" y="284"/>
                    <a:pt x="624" y="285"/>
                    <a:pt x="620" y="286"/>
                  </a:cubicBezTo>
                  <a:cubicBezTo>
                    <a:pt x="628" y="291"/>
                    <a:pt x="634" y="283"/>
                    <a:pt x="642" y="281"/>
                  </a:cubicBezTo>
                  <a:cubicBezTo>
                    <a:pt x="645" y="280"/>
                    <a:pt x="649" y="282"/>
                    <a:pt x="651" y="285"/>
                  </a:cubicBezTo>
                  <a:cubicBezTo>
                    <a:pt x="654" y="303"/>
                    <a:pt x="646" y="330"/>
                    <a:pt x="669" y="339"/>
                  </a:cubicBezTo>
                  <a:cubicBezTo>
                    <a:pt x="672" y="340"/>
                    <a:pt x="676" y="341"/>
                    <a:pt x="679" y="342"/>
                  </a:cubicBezTo>
                  <a:moveTo>
                    <a:pt x="546" y="767"/>
                  </a:moveTo>
                  <a:cubicBezTo>
                    <a:pt x="564" y="796"/>
                    <a:pt x="565" y="797"/>
                    <a:pt x="575" y="814"/>
                  </a:cubicBezTo>
                  <a:cubicBezTo>
                    <a:pt x="585" y="830"/>
                    <a:pt x="625" y="892"/>
                    <a:pt x="632" y="904"/>
                  </a:cubicBezTo>
                  <a:cubicBezTo>
                    <a:pt x="640" y="917"/>
                    <a:pt x="681" y="987"/>
                    <a:pt x="708" y="1000"/>
                  </a:cubicBezTo>
                  <a:cubicBezTo>
                    <a:pt x="687" y="1023"/>
                    <a:pt x="697" y="1050"/>
                    <a:pt x="663" y="1056"/>
                  </a:cubicBezTo>
                  <a:cubicBezTo>
                    <a:pt x="644" y="1059"/>
                    <a:pt x="589" y="1076"/>
                    <a:pt x="570" y="1044"/>
                  </a:cubicBezTo>
                  <a:cubicBezTo>
                    <a:pt x="551" y="1012"/>
                    <a:pt x="543" y="962"/>
                    <a:pt x="548" y="922"/>
                  </a:cubicBezTo>
                  <a:cubicBezTo>
                    <a:pt x="572" y="959"/>
                    <a:pt x="590" y="975"/>
                    <a:pt x="603" y="983"/>
                  </a:cubicBezTo>
                  <a:cubicBezTo>
                    <a:pt x="559" y="934"/>
                    <a:pt x="564" y="924"/>
                    <a:pt x="543" y="898"/>
                  </a:cubicBezTo>
                  <a:cubicBezTo>
                    <a:pt x="535" y="887"/>
                    <a:pt x="533" y="870"/>
                    <a:pt x="532" y="857"/>
                  </a:cubicBezTo>
                  <a:cubicBezTo>
                    <a:pt x="530" y="834"/>
                    <a:pt x="531" y="812"/>
                    <a:pt x="530" y="790"/>
                  </a:cubicBezTo>
                  <a:cubicBezTo>
                    <a:pt x="529" y="778"/>
                    <a:pt x="530" y="765"/>
                    <a:pt x="526" y="753"/>
                  </a:cubicBezTo>
                  <a:cubicBezTo>
                    <a:pt x="524" y="749"/>
                    <a:pt x="521" y="736"/>
                    <a:pt x="520" y="731"/>
                  </a:cubicBezTo>
                  <a:cubicBezTo>
                    <a:pt x="519" y="726"/>
                    <a:pt x="519" y="720"/>
                    <a:pt x="519" y="720"/>
                  </a:cubicBezTo>
                  <a:cubicBezTo>
                    <a:pt x="519" y="720"/>
                    <a:pt x="528" y="739"/>
                    <a:pt x="546" y="767"/>
                  </a:cubicBezTo>
                  <a:moveTo>
                    <a:pt x="538" y="425"/>
                  </a:moveTo>
                  <a:cubicBezTo>
                    <a:pt x="534" y="429"/>
                    <a:pt x="532" y="432"/>
                    <a:pt x="529" y="437"/>
                  </a:cubicBezTo>
                  <a:cubicBezTo>
                    <a:pt x="525" y="449"/>
                    <a:pt x="529" y="467"/>
                    <a:pt x="542" y="476"/>
                  </a:cubicBezTo>
                  <a:cubicBezTo>
                    <a:pt x="550" y="482"/>
                    <a:pt x="553" y="483"/>
                    <a:pt x="560" y="485"/>
                  </a:cubicBezTo>
                  <a:cubicBezTo>
                    <a:pt x="543" y="490"/>
                    <a:pt x="525" y="513"/>
                    <a:pt x="525" y="526"/>
                  </a:cubicBezTo>
                  <a:cubicBezTo>
                    <a:pt x="519" y="520"/>
                    <a:pt x="517" y="508"/>
                    <a:pt x="519" y="498"/>
                  </a:cubicBezTo>
                  <a:cubicBezTo>
                    <a:pt x="514" y="504"/>
                    <a:pt x="504" y="508"/>
                    <a:pt x="498" y="509"/>
                  </a:cubicBezTo>
                  <a:cubicBezTo>
                    <a:pt x="496" y="504"/>
                    <a:pt x="497" y="490"/>
                    <a:pt x="503" y="483"/>
                  </a:cubicBezTo>
                  <a:cubicBezTo>
                    <a:pt x="501" y="479"/>
                    <a:pt x="487" y="481"/>
                    <a:pt x="480" y="486"/>
                  </a:cubicBezTo>
                  <a:cubicBezTo>
                    <a:pt x="479" y="477"/>
                    <a:pt x="482" y="471"/>
                    <a:pt x="490" y="465"/>
                  </a:cubicBezTo>
                  <a:cubicBezTo>
                    <a:pt x="488" y="460"/>
                    <a:pt x="483" y="464"/>
                    <a:pt x="471" y="465"/>
                  </a:cubicBezTo>
                  <a:cubicBezTo>
                    <a:pt x="479" y="462"/>
                    <a:pt x="490" y="456"/>
                    <a:pt x="502" y="448"/>
                  </a:cubicBezTo>
                  <a:cubicBezTo>
                    <a:pt x="523" y="435"/>
                    <a:pt x="538" y="425"/>
                    <a:pt x="538" y="425"/>
                  </a:cubicBezTo>
                  <a:moveTo>
                    <a:pt x="816" y="430"/>
                  </a:moveTo>
                  <a:cubicBezTo>
                    <a:pt x="831" y="432"/>
                    <a:pt x="852" y="428"/>
                    <a:pt x="859" y="426"/>
                  </a:cubicBezTo>
                  <a:cubicBezTo>
                    <a:pt x="863" y="432"/>
                    <a:pt x="856" y="442"/>
                    <a:pt x="850" y="440"/>
                  </a:cubicBezTo>
                  <a:cubicBezTo>
                    <a:pt x="852" y="449"/>
                    <a:pt x="860" y="460"/>
                    <a:pt x="859" y="470"/>
                  </a:cubicBezTo>
                  <a:cubicBezTo>
                    <a:pt x="851" y="467"/>
                    <a:pt x="829" y="458"/>
                    <a:pt x="829" y="458"/>
                  </a:cubicBezTo>
                  <a:cubicBezTo>
                    <a:pt x="835" y="467"/>
                    <a:pt x="842" y="483"/>
                    <a:pt x="840" y="494"/>
                  </a:cubicBezTo>
                  <a:cubicBezTo>
                    <a:pt x="831" y="488"/>
                    <a:pt x="812" y="487"/>
                    <a:pt x="804" y="481"/>
                  </a:cubicBezTo>
                  <a:cubicBezTo>
                    <a:pt x="808" y="495"/>
                    <a:pt x="817" y="515"/>
                    <a:pt x="805" y="528"/>
                  </a:cubicBezTo>
                  <a:cubicBezTo>
                    <a:pt x="794" y="520"/>
                    <a:pt x="788" y="507"/>
                    <a:pt x="779" y="498"/>
                  </a:cubicBezTo>
                  <a:cubicBezTo>
                    <a:pt x="781" y="511"/>
                    <a:pt x="784" y="531"/>
                    <a:pt x="775" y="543"/>
                  </a:cubicBezTo>
                  <a:cubicBezTo>
                    <a:pt x="769" y="536"/>
                    <a:pt x="745" y="526"/>
                    <a:pt x="745" y="518"/>
                  </a:cubicBezTo>
                  <a:cubicBezTo>
                    <a:pt x="743" y="517"/>
                    <a:pt x="736" y="544"/>
                    <a:pt x="728" y="549"/>
                  </a:cubicBezTo>
                  <a:cubicBezTo>
                    <a:pt x="720" y="538"/>
                    <a:pt x="713" y="521"/>
                    <a:pt x="702" y="511"/>
                  </a:cubicBezTo>
                  <a:cubicBezTo>
                    <a:pt x="705" y="508"/>
                    <a:pt x="709" y="510"/>
                    <a:pt x="707" y="504"/>
                  </a:cubicBezTo>
                  <a:cubicBezTo>
                    <a:pt x="704" y="496"/>
                    <a:pt x="692" y="491"/>
                    <a:pt x="679" y="486"/>
                  </a:cubicBezTo>
                  <a:cubicBezTo>
                    <a:pt x="681" y="482"/>
                    <a:pt x="683" y="480"/>
                    <a:pt x="687" y="474"/>
                  </a:cubicBezTo>
                  <a:cubicBezTo>
                    <a:pt x="697" y="459"/>
                    <a:pt x="704" y="445"/>
                    <a:pt x="706" y="438"/>
                  </a:cubicBezTo>
                  <a:cubicBezTo>
                    <a:pt x="710" y="426"/>
                    <a:pt x="712" y="423"/>
                    <a:pt x="713" y="414"/>
                  </a:cubicBezTo>
                  <a:cubicBezTo>
                    <a:pt x="726" y="416"/>
                    <a:pt x="735" y="418"/>
                    <a:pt x="752" y="420"/>
                  </a:cubicBezTo>
                  <a:cubicBezTo>
                    <a:pt x="768" y="422"/>
                    <a:pt x="793" y="427"/>
                    <a:pt x="816" y="430"/>
                  </a:cubicBezTo>
                  <a:moveTo>
                    <a:pt x="1084" y="383"/>
                  </a:moveTo>
                  <a:cubicBezTo>
                    <a:pt x="1085" y="388"/>
                    <a:pt x="1074" y="400"/>
                    <a:pt x="1061" y="403"/>
                  </a:cubicBezTo>
                  <a:cubicBezTo>
                    <a:pt x="1045" y="407"/>
                    <a:pt x="1032" y="404"/>
                    <a:pt x="1021" y="398"/>
                  </a:cubicBezTo>
                  <a:cubicBezTo>
                    <a:pt x="1022" y="409"/>
                    <a:pt x="1041" y="414"/>
                    <a:pt x="1055" y="411"/>
                  </a:cubicBezTo>
                  <a:cubicBezTo>
                    <a:pt x="1047" y="422"/>
                    <a:pt x="1023" y="429"/>
                    <a:pt x="1006" y="428"/>
                  </a:cubicBezTo>
                  <a:cubicBezTo>
                    <a:pt x="987" y="428"/>
                    <a:pt x="975" y="422"/>
                    <a:pt x="958" y="412"/>
                  </a:cubicBezTo>
                  <a:cubicBezTo>
                    <a:pt x="956" y="423"/>
                    <a:pt x="977" y="433"/>
                    <a:pt x="993" y="434"/>
                  </a:cubicBezTo>
                  <a:cubicBezTo>
                    <a:pt x="963" y="450"/>
                    <a:pt x="929" y="438"/>
                    <a:pt x="925" y="437"/>
                  </a:cubicBezTo>
                  <a:cubicBezTo>
                    <a:pt x="917" y="435"/>
                    <a:pt x="905" y="430"/>
                    <a:pt x="898" y="423"/>
                  </a:cubicBezTo>
                  <a:cubicBezTo>
                    <a:pt x="898" y="432"/>
                    <a:pt x="910" y="439"/>
                    <a:pt x="920" y="441"/>
                  </a:cubicBezTo>
                  <a:cubicBezTo>
                    <a:pt x="900" y="451"/>
                    <a:pt x="875" y="440"/>
                    <a:pt x="866" y="424"/>
                  </a:cubicBezTo>
                  <a:cubicBezTo>
                    <a:pt x="898" y="415"/>
                    <a:pt x="922" y="406"/>
                    <a:pt x="955" y="398"/>
                  </a:cubicBezTo>
                  <a:cubicBezTo>
                    <a:pt x="987" y="403"/>
                    <a:pt x="1017" y="390"/>
                    <a:pt x="1029" y="376"/>
                  </a:cubicBezTo>
                  <a:cubicBezTo>
                    <a:pt x="1033" y="371"/>
                    <a:pt x="1037" y="364"/>
                    <a:pt x="1037" y="362"/>
                  </a:cubicBezTo>
                  <a:cubicBezTo>
                    <a:pt x="1040" y="361"/>
                    <a:pt x="1044" y="362"/>
                    <a:pt x="1047" y="363"/>
                  </a:cubicBezTo>
                  <a:cubicBezTo>
                    <a:pt x="1050" y="364"/>
                    <a:pt x="1081" y="371"/>
                    <a:pt x="1084" y="383"/>
                  </a:cubicBezTo>
                  <a:moveTo>
                    <a:pt x="306" y="378"/>
                  </a:moveTo>
                  <a:cubicBezTo>
                    <a:pt x="310" y="375"/>
                    <a:pt x="321" y="372"/>
                    <a:pt x="331" y="374"/>
                  </a:cubicBezTo>
                  <a:cubicBezTo>
                    <a:pt x="342" y="375"/>
                    <a:pt x="361" y="380"/>
                    <a:pt x="375" y="390"/>
                  </a:cubicBezTo>
                  <a:cubicBezTo>
                    <a:pt x="404" y="400"/>
                    <a:pt x="427" y="420"/>
                    <a:pt x="456" y="429"/>
                  </a:cubicBezTo>
                  <a:cubicBezTo>
                    <a:pt x="457" y="426"/>
                    <a:pt x="454" y="424"/>
                    <a:pt x="452" y="422"/>
                  </a:cubicBezTo>
                  <a:cubicBezTo>
                    <a:pt x="470" y="408"/>
                    <a:pt x="489" y="396"/>
                    <a:pt x="510" y="387"/>
                  </a:cubicBezTo>
                  <a:cubicBezTo>
                    <a:pt x="523" y="372"/>
                    <a:pt x="540" y="356"/>
                    <a:pt x="562" y="359"/>
                  </a:cubicBezTo>
                  <a:cubicBezTo>
                    <a:pt x="567" y="359"/>
                    <a:pt x="567" y="359"/>
                    <a:pt x="567" y="359"/>
                  </a:cubicBezTo>
                  <a:cubicBezTo>
                    <a:pt x="567" y="359"/>
                    <a:pt x="567" y="364"/>
                    <a:pt x="567" y="366"/>
                  </a:cubicBezTo>
                  <a:cubicBezTo>
                    <a:pt x="566" y="377"/>
                    <a:pt x="560" y="388"/>
                    <a:pt x="554" y="403"/>
                  </a:cubicBezTo>
                  <a:cubicBezTo>
                    <a:pt x="554" y="403"/>
                    <a:pt x="536" y="410"/>
                    <a:pt x="528" y="415"/>
                  </a:cubicBezTo>
                  <a:cubicBezTo>
                    <a:pt x="521" y="419"/>
                    <a:pt x="459" y="456"/>
                    <a:pt x="459" y="456"/>
                  </a:cubicBezTo>
                  <a:cubicBezTo>
                    <a:pt x="441" y="470"/>
                    <a:pt x="433" y="454"/>
                    <a:pt x="415" y="442"/>
                  </a:cubicBezTo>
                  <a:cubicBezTo>
                    <a:pt x="393" y="431"/>
                    <a:pt x="372" y="420"/>
                    <a:pt x="353" y="403"/>
                  </a:cubicBezTo>
                  <a:cubicBezTo>
                    <a:pt x="353" y="400"/>
                    <a:pt x="359" y="402"/>
                    <a:pt x="356" y="399"/>
                  </a:cubicBezTo>
                  <a:cubicBezTo>
                    <a:pt x="346" y="400"/>
                    <a:pt x="338" y="404"/>
                    <a:pt x="329" y="406"/>
                  </a:cubicBezTo>
                  <a:cubicBezTo>
                    <a:pt x="325" y="408"/>
                    <a:pt x="315" y="411"/>
                    <a:pt x="312" y="405"/>
                  </a:cubicBezTo>
                  <a:cubicBezTo>
                    <a:pt x="317" y="404"/>
                    <a:pt x="317" y="404"/>
                    <a:pt x="317" y="404"/>
                  </a:cubicBezTo>
                  <a:cubicBezTo>
                    <a:pt x="322" y="400"/>
                    <a:pt x="324" y="393"/>
                    <a:pt x="334" y="390"/>
                  </a:cubicBezTo>
                  <a:cubicBezTo>
                    <a:pt x="327" y="384"/>
                    <a:pt x="314" y="381"/>
                    <a:pt x="304" y="381"/>
                  </a:cubicBezTo>
                  <a:lnTo>
                    <a:pt x="306" y="378"/>
                  </a:lnTo>
                  <a:close/>
                  <a:moveTo>
                    <a:pt x="999" y="340"/>
                  </a:moveTo>
                  <a:cubicBezTo>
                    <a:pt x="998" y="351"/>
                    <a:pt x="986" y="353"/>
                    <a:pt x="981" y="362"/>
                  </a:cubicBezTo>
                  <a:cubicBezTo>
                    <a:pt x="975" y="367"/>
                    <a:pt x="975" y="367"/>
                    <a:pt x="975" y="367"/>
                  </a:cubicBezTo>
                  <a:cubicBezTo>
                    <a:pt x="980" y="366"/>
                    <a:pt x="986" y="363"/>
                    <a:pt x="990" y="358"/>
                  </a:cubicBezTo>
                  <a:cubicBezTo>
                    <a:pt x="999" y="356"/>
                    <a:pt x="1027" y="350"/>
                    <a:pt x="1028" y="355"/>
                  </a:cubicBezTo>
                  <a:cubicBezTo>
                    <a:pt x="1029" y="361"/>
                    <a:pt x="1027" y="366"/>
                    <a:pt x="1018" y="372"/>
                  </a:cubicBezTo>
                  <a:cubicBezTo>
                    <a:pt x="1010" y="378"/>
                    <a:pt x="980" y="390"/>
                    <a:pt x="959" y="387"/>
                  </a:cubicBezTo>
                  <a:cubicBezTo>
                    <a:pt x="947" y="386"/>
                    <a:pt x="935" y="390"/>
                    <a:pt x="924" y="392"/>
                  </a:cubicBezTo>
                  <a:cubicBezTo>
                    <a:pt x="865" y="410"/>
                    <a:pt x="865" y="410"/>
                    <a:pt x="865" y="410"/>
                  </a:cubicBezTo>
                  <a:cubicBezTo>
                    <a:pt x="845" y="415"/>
                    <a:pt x="821" y="418"/>
                    <a:pt x="799" y="412"/>
                  </a:cubicBezTo>
                  <a:cubicBezTo>
                    <a:pt x="766" y="406"/>
                    <a:pt x="734" y="398"/>
                    <a:pt x="700" y="400"/>
                  </a:cubicBezTo>
                  <a:cubicBezTo>
                    <a:pt x="696" y="400"/>
                    <a:pt x="691" y="403"/>
                    <a:pt x="688" y="408"/>
                  </a:cubicBezTo>
                  <a:cubicBezTo>
                    <a:pt x="692" y="407"/>
                    <a:pt x="697" y="405"/>
                    <a:pt x="701" y="408"/>
                  </a:cubicBezTo>
                  <a:cubicBezTo>
                    <a:pt x="700" y="412"/>
                    <a:pt x="700" y="437"/>
                    <a:pt x="690" y="446"/>
                  </a:cubicBezTo>
                  <a:cubicBezTo>
                    <a:pt x="688" y="443"/>
                    <a:pt x="687" y="439"/>
                    <a:pt x="685" y="435"/>
                  </a:cubicBezTo>
                  <a:cubicBezTo>
                    <a:pt x="684" y="431"/>
                    <a:pt x="670" y="368"/>
                    <a:pt x="697" y="349"/>
                  </a:cubicBezTo>
                  <a:cubicBezTo>
                    <a:pt x="713" y="344"/>
                    <a:pt x="735" y="353"/>
                    <a:pt x="740" y="356"/>
                  </a:cubicBezTo>
                  <a:cubicBezTo>
                    <a:pt x="761" y="368"/>
                    <a:pt x="797" y="374"/>
                    <a:pt x="825" y="385"/>
                  </a:cubicBezTo>
                  <a:cubicBezTo>
                    <a:pt x="837" y="383"/>
                    <a:pt x="849" y="379"/>
                    <a:pt x="861" y="378"/>
                  </a:cubicBezTo>
                  <a:cubicBezTo>
                    <a:pt x="945" y="367"/>
                    <a:pt x="945" y="367"/>
                    <a:pt x="945" y="367"/>
                  </a:cubicBezTo>
                  <a:cubicBezTo>
                    <a:pt x="960" y="369"/>
                    <a:pt x="962" y="350"/>
                    <a:pt x="975" y="349"/>
                  </a:cubicBezTo>
                  <a:cubicBezTo>
                    <a:pt x="984" y="349"/>
                    <a:pt x="989" y="343"/>
                    <a:pt x="996" y="339"/>
                  </a:cubicBezTo>
                  <a:cubicBezTo>
                    <a:pt x="997" y="338"/>
                    <a:pt x="999" y="338"/>
                    <a:pt x="999" y="340"/>
                  </a:cubicBezTo>
                  <a:moveTo>
                    <a:pt x="143" y="129"/>
                  </a:moveTo>
                  <a:cubicBezTo>
                    <a:pt x="216" y="34"/>
                    <a:pt x="216" y="34"/>
                    <a:pt x="216" y="34"/>
                  </a:cubicBezTo>
                  <a:cubicBezTo>
                    <a:pt x="242" y="71"/>
                    <a:pt x="284" y="73"/>
                    <a:pt x="326" y="75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473" y="53"/>
                    <a:pt x="473" y="53"/>
                    <a:pt x="473" y="53"/>
                  </a:cubicBezTo>
                  <a:cubicBezTo>
                    <a:pt x="554" y="44"/>
                    <a:pt x="554" y="44"/>
                    <a:pt x="554" y="44"/>
                  </a:cubicBezTo>
                  <a:cubicBezTo>
                    <a:pt x="631" y="35"/>
                    <a:pt x="709" y="47"/>
                    <a:pt x="782" y="57"/>
                  </a:cubicBezTo>
                  <a:cubicBezTo>
                    <a:pt x="889" y="75"/>
                    <a:pt x="889" y="75"/>
                    <a:pt x="889" y="75"/>
                  </a:cubicBezTo>
                  <a:cubicBezTo>
                    <a:pt x="934" y="78"/>
                    <a:pt x="982" y="77"/>
                    <a:pt x="1012" y="43"/>
                  </a:cubicBezTo>
                  <a:cubicBezTo>
                    <a:pt x="1018" y="37"/>
                    <a:pt x="1018" y="37"/>
                    <a:pt x="1018" y="37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6" y="126"/>
                    <a:pt x="1086" y="126"/>
                    <a:pt x="1086" y="126"/>
                  </a:cubicBezTo>
                  <a:cubicBezTo>
                    <a:pt x="1084" y="127"/>
                    <a:pt x="1082" y="128"/>
                    <a:pt x="1079" y="129"/>
                  </a:cubicBezTo>
                  <a:cubicBezTo>
                    <a:pt x="1071" y="132"/>
                    <a:pt x="1061" y="135"/>
                    <a:pt x="1052" y="139"/>
                  </a:cubicBezTo>
                  <a:cubicBezTo>
                    <a:pt x="1050" y="139"/>
                    <a:pt x="1049" y="140"/>
                    <a:pt x="1048" y="140"/>
                  </a:cubicBezTo>
                  <a:cubicBezTo>
                    <a:pt x="1047" y="140"/>
                    <a:pt x="1047" y="140"/>
                    <a:pt x="1047" y="140"/>
                  </a:cubicBezTo>
                  <a:cubicBezTo>
                    <a:pt x="1012" y="95"/>
                    <a:pt x="1012" y="95"/>
                    <a:pt x="1012" y="95"/>
                  </a:cubicBezTo>
                  <a:cubicBezTo>
                    <a:pt x="977" y="115"/>
                    <a:pt x="932" y="118"/>
                    <a:pt x="889" y="115"/>
                  </a:cubicBezTo>
                  <a:cubicBezTo>
                    <a:pt x="827" y="105"/>
                    <a:pt x="827" y="105"/>
                    <a:pt x="827" y="105"/>
                  </a:cubicBezTo>
                  <a:cubicBezTo>
                    <a:pt x="750" y="93"/>
                    <a:pt x="750" y="93"/>
                    <a:pt x="750" y="93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20" y="79"/>
                    <a:pt x="570" y="81"/>
                    <a:pt x="522" y="87"/>
                  </a:cubicBezTo>
                  <a:cubicBezTo>
                    <a:pt x="454" y="96"/>
                    <a:pt x="454" y="96"/>
                    <a:pt x="454" y="96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298" y="117"/>
                    <a:pt x="256" y="112"/>
                    <a:pt x="221" y="92"/>
                  </a:cubicBezTo>
                  <a:cubicBezTo>
                    <a:pt x="186" y="138"/>
                    <a:pt x="186" y="138"/>
                    <a:pt x="186" y="138"/>
                  </a:cubicBezTo>
                  <a:cubicBezTo>
                    <a:pt x="181" y="137"/>
                    <a:pt x="177" y="136"/>
                    <a:pt x="172" y="135"/>
                  </a:cubicBezTo>
                  <a:cubicBezTo>
                    <a:pt x="161" y="133"/>
                    <a:pt x="152" y="131"/>
                    <a:pt x="143" y="129"/>
                  </a:cubicBezTo>
                  <a:moveTo>
                    <a:pt x="1254" y="120"/>
                  </a:moveTo>
                  <a:cubicBezTo>
                    <a:pt x="1259" y="111"/>
                    <a:pt x="1265" y="101"/>
                    <a:pt x="1270" y="88"/>
                  </a:cubicBezTo>
                  <a:cubicBezTo>
                    <a:pt x="1281" y="63"/>
                    <a:pt x="1281" y="63"/>
                    <a:pt x="1281" y="63"/>
                  </a:cubicBezTo>
                  <a:cubicBezTo>
                    <a:pt x="1254" y="68"/>
                    <a:pt x="1254" y="68"/>
                    <a:pt x="1254" y="68"/>
                  </a:cubicBezTo>
                  <a:cubicBezTo>
                    <a:pt x="1233" y="73"/>
                    <a:pt x="1208" y="80"/>
                    <a:pt x="1177" y="92"/>
                  </a:cubicBezTo>
                  <a:cubicBezTo>
                    <a:pt x="1172" y="93"/>
                    <a:pt x="1167" y="95"/>
                    <a:pt x="1160" y="98"/>
                  </a:cubicBezTo>
                  <a:cubicBezTo>
                    <a:pt x="1139" y="105"/>
                    <a:pt x="1119" y="113"/>
                    <a:pt x="1104" y="118"/>
                  </a:cubicBezTo>
                  <a:cubicBezTo>
                    <a:pt x="1018" y="5"/>
                    <a:pt x="1018" y="5"/>
                    <a:pt x="1018" y="5"/>
                  </a:cubicBezTo>
                  <a:cubicBezTo>
                    <a:pt x="1005" y="22"/>
                    <a:pt x="1005" y="22"/>
                    <a:pt x="1005" y="22"/>
                  </a:cubicBezTo>
                  <a:cubicBezTo>
                    <a:pt x="1002" y="26"/>
                    <a:pt x="999" y="30"/>
                    <a:pt x="995" y="33"/>
                  </a:cubicBezTo>
                  <a:cubicBezTo>
                    <a:pt x="978" y="49"/>
                    <a:pt x="955" y="56"/>
                    <a:pt x="921" y="56"/>
                  </a:cubicBezTo>
                  <a:cubicBezTo>
                    <a:pt x="907" y="56"/>
                    <a:pt x="894" y="55"/>
                    <a:pt x="883" y="54"/>
                  </a:cubicBezTo>
                  <a:cubicBezTo>
                    <a:pt x="804" y="41"/>
                    <a:pt x="804" y="41"/>
                    <a:pt x="804" y="41"/>
                  </a:cubicBezTo>
                  <a:cubicBezTo>
                    <a:pt x="803" y="41"/>
                    <a:pt x="739" y="31"/>
                    <a:pt x="739" y="31"/>
                  </a:cubicBezTo>
                  <a:cubicBezTo>
                    <a:pt x="694" y="25"/>
                    <a:pt x="651" y="22"/>
                    <a:pt x="611" y="22"/>
                  </a:cubicBezTo>
                  <a:cubicBezTo>
                    <a:pt x="589" y="22"/>
                    <a:pt x="568" y="23"/>
                    <a:pt x="548" y="25"/>
                  </a:cubicBezTo>
                  <a:cubicBezTo>
                    <a:pt x="548" y="25"/>
                    <a:pt x="548" y="25"/>
                    <a:pt x="548" y="25"/>
                  </a:cubicBezTo>
                  <a:cubicBezTo>
                    <a:pt x="546" y="25"/>
                    <a:pt x="536" y="26"/>
                    <a:pt x="472" y="34"/>
                  </a:cubicBezTo>
                  <a:cubicBezTo>
                    <a:pt x="471" y="34"/>
                    <a:pt x="381" y="48"/>
                    <a:pt x="381" y="48"/>
                  </a:cubicBezTo>
                  <a:cubicBezTo>
                    <a:pt x="353" y="53"/>
                    <a:pt x="332" y="55"/>
                    <a:pt x="314" y="55"/>
                  </a:cubicBezTo>
                  <a:cubicBezTo>
                    <a:pt x="270" y="55"/>
                    <a:pt x="241" y="42"/>
                    <a:pt x="225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15" y="121"/>
                    <a:pt x="106" y="118"/>
                    <a:pt x="98" y="115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42"/>
                    <a:pt x="85" y="153"/>
                    <a:pt x="92" y="16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0" y="292"/>
                    <a:pt x="10" y="292"/>
                    <a:pt x="10" y="292"/>
                  </a:cubicBezTo>
                  <a:cubicBezTo>
                    <a:pt x="10" y="293"/>
                    <a:pt x="10" y="293"/>
                    <a:pt x="10" y="293"/>
                  </a:cubicBezTo>
                  <a:cubicBezTo>
                    <a:pt x="51" y="323"/>
                    <a:pt x="69" y="369"/>
                    <a:pt x="69" y="441"/>
                  </a:cubicBezTo>
                  <a:cubicBezTo>
                    <a:pt x="69" y="462"/>
                    <a:pt x="68" y="483"/>
                    <a:pt x="67" y="499"/>
                  </a:cubicBezTo>
                  <a:cubicBezTo>
                    <a:pt x="67" y="499"/>
                    <a:pt x="67" y="499"/>
                    <a:pt x="67" y="499"/>
                  </a:cubicBezTo>
                  <a:cubicBezTo>
                    <a:pt x="66" y="501"/>
                    <a:pt x="65" y="507"/>
                    <a:pt x="64" y="518"/>
                  </a:cubicBezTo>
                  <a:cubicBezTo>
                    <a:pt x="45" y="627"/>
                    <a:pt x="45" y="627"/>
                    <a:pt x="45" y="627"/>
                  </a:cubicBezTo>
                  <a:cubicBezTo>
                    <a:pt x="45" y="628"/>
                    <a:pt x="39" y="673"/>
                    <a:pt x="36" y="696"/>
                  </a:cubicBezTo>
                  <a:cubicBezTo>
                    <a:pt x="32" y="731"/>
                    <a:pt x="30" y="765"/>
                    <a:pt x="30" y="797"/>
                  </a:cubicBezTo>
                  <a:cubicBezTo>
                    <a:pt x="30" y="806"/>
                    <a:pt x="30" y="815"/>
                    <a:pt x="31" y="824"/>
                  </a:cubicBezTo>
                  <a:cubicBezTo>
                    <a:pt x="36" y="1041"/>
                    <a:pt x="166" y="1214"/>
                    <a:pt x="378" y="1287"/>
                  </a:cubicBezTo>
                  <a:cubicBezTo>
                    <a:pt x="378" y="1287"/>
                    <a:pt x="378" y="1287"/>
                    <a:pt x="378" y="1287"/>
                  </a:cubicBezTo>
                  <a:cubicBezTo>
                    <a:pt x="380" y="1288"/>
                    <a:pt x="383" y="1289"/>
                    <a:pt x="387" y="1290"/>
                  </a:cubicBezTo>
                  <a:cubicBezTo>
                    <a:pt x="387" y="1290"/>
                    <a:pt x="420" y="1303"/>
                    <a:pt x="420" y="1303"/>
                  </a:cubicBezTo>
                  <a:cubicBezTo>
                    <a:pt x="425" y="1305"/>
                    <a:pt x="425" y="1305"/>
                    <a:pt x="425" y="1305"/>
                  </a:cubicBezTo>
                  <a:cubicBezTo>
                    <a:pt x="488" y="1331"/>
                    <a:pt x="552" y="1359"/>
                    <a:pt x="604" y="1411"/>
                  </a:cubicBezTo>
                  <a:cubicBezTo>
                    <a:pt x="612" y="1419"/>
                    <a:pt x="612" y="1419"/>
                    <a:pt x="612" y="1419"/>
                  </a:cubicBezTo>
                  <a:cubicBezTo>
                    <a:pt x="621" y="1410"/>
                    <a:pt x="621" y="1410"/>
                    <a:pt x="621" y="1410"/>
                  </a:cubicBezTo>
                  <a:cubicBezTo>
                    <a:pt x="623" y="1408"/>
                    <a:pt x="623" y="1408"/>
                    <a:pt x="623" y="1408"/>
                  </a:cubicBezTo>
                  <a:cubicBezTo>
                    <a:pt x="623" y="1408"/>
                    <a:pt x="624" y="1406"/>
                    <a:pt x="625" y="1405"/>
                  </a:cubicBezTo>
                  <a:cubicBezTo>
                    <a:pt x="689" y="1348"/>
                    <a:pt x="764" y="1319"/>
                    <a:pt x="848" y="1288"/>
                  </a:cubicBezTo>
                  <a:cubicBezTo>
                    <a:pt x="1000" y="1234"/>
                    <a:pt x="1056" y="1167"/>
                    <a:pt x="1096" y="1117"/>
                  </a:cubicBezTo>
                  <a:cubicBezTo>
                    <a:pt x="1097" y="1115"/>
                    <a:pt x="1097" y="1115"/>
                    <a:pt x="1097" y="1115"/>
                  </a:cubicBezTo>
                  <a:cubicBezTo>
                    <a:pt x="1160" y="1042"/>
                    <a:pt x="1199" y="925"/>
                    <a:pt x="1199" y="809"/>
                  </a:cubicBezTo>
                  <a:cubicBezTo>
                    <a:pt x="1199" y="806"/>
                    <a:pt x="1199" y="803"/>
                    <a:pt x="1199" y="800"/>
                  </a:cubicBezTo>
                  <a:cubicBezTo>
                    <a:pt x="1199" y="800"/>
                    <a:pt x="1199" y="800"/>
                    <a:pt x="1196" y="728"/>
                  </a:cubicBezTo>
                  <a:cubicBezTo>
                    <a:pt x="1196" y="727"/>
                    <a:pt x="1191" y="677"/>
                    <a:pt x="1188" y="651"/>
                  </a:cubicBezTo>
                  <a:cubicBezTo>
                    <a:pt x="1188" y="650"/>
                    <a:pt x="1188" y="650"/>
                    <a:pt x="1176" y="579"/>
                  </a:cubicBezTo>
                  <a:cubicBezTo>
                    <a:pt x="1165" y="510"/>
                    <a:pt x="1165" y="510"/>
                    <a:pt x="1165" y="510"/>
                  </a:cubicBezTo>
                  <a:cubicBezTo>
                    <a:pt x="1163" y="492"/>
                    <a:pt x="1162" y="474"/>
                    <a:pt x="1162" y="458"/>
                  </a:cubicBezTo>
                  <a:cubicBezTo>
                    <a:pt x="1162" y="454"/>
                    <a:pt x="1162" y="450"/>
                    <a:pt x="1162" y="446"/>
                  </a:cubicBezTo>
                  <a:cubicBezTo>
                    <a:pt x="1162" y="444"/>
                    <a:pt x="1162" y="444"/>
                    <a:pt x="1162" y="444"/>
                  </a:cubicBezTo>
                  <a:cubicBezTo>
                    <a:pt x="1162" y="375"/>
                    <a:pt x="1182" y="326"/>
                    <a:pt x="1224" y="295"/>
                  </a:cubicBezTo>
                  <a:cubicBezTo>
                    <a:pt x="1233" y="288"/>
                    <a:pt x="1233" y="288"/>
                    <a:pt x="1233" y="288"/>
                  </a:cubicBezTo>
                  <a:cubicBezTo>
                    <a:pt x="1210" y="258"/>
                    <a:pt x="1210" y="258"/>
                    <a:pt x="1210" y="258"/>
                  </a:cubicBezTo>
                  <a:cubicBezTo>
                    <a:pt x="1217" y="251"/>
                    <a:pt x="1221" y="244"/>
                    <a:pt x="1224" y="238"/>
                  </a:cubicBezTo>
                  <a:cubicBezTo>
                    <a:pt x="1228" y="229"/>
                    <a:pt x="1229" y="213"/>
                    <a:pt x="1223" y="203"/>
                  </a:cubicBezTo>
                  <a:cubicBezTo>
                    <a:pt x="1223" y="203"/>
                    <a:pt x="1223" y="203"/>
                    <a:pt x="1222" y="203"/>
                  </a:cubicBezTo>
                  <a:cubicBezTo>
                    <a:pt x="1244" y="187"/>
                    <a:pt x="1266" y="152"/>
                    <a:pt x="1272" y="140"/>
                  </a:cubicBezTo>
                  <a:cubicBezTo>
                    <a:pt x="1290" y="105"/>
                    <a:pt x="1290" y="105"/>
                    <a:pt x="1290" y="105"/>
                  </a:cubicBezTo>
                  <a:cubicBezTo>
                    <a:pt x="1290" y="105"/>
                    <a:pt x="1254" y="120"/>
                    <a:pt x="1254" y="120"/>
                  </a:cubicBezTo>
                  <a:moveTo>
                    <a:pt x="1201" y="277"/>
                  </a:moveTo>
                  <a:cubicBezTo>
                    <a:pt x="1201" y="277"/>
                    <a:pt x="1201" y="277"/>
                    <a:pt x="1201" y="277"/>
                  </a:cubicBezTo>
                  <a:cubicBezTo>
                    <a:pt x="1201" y="277"/>
                    <a:pt x="1201" y="277"/>
                    <a:pt x="1201" y="277"/>
                  </a:cubicBezTo>
                  <a:moveTo>
                    <a:pt x="1201" y="277"/>
                  </a:moveTo>
                  <a:cubicBezTo>
                    <a:pt x="1200" y="275"/>
                    <a:pt x="1199" y="274"/>
                    <a:pt x="1198" y="274"/>
                  </a:cubicBezTo>
                  <a:cubicBezTo>
                    <a:pt x="1199" y="274"/>
                    <a:pt x="1200" y="275"/>
                    <a:pt x="1201" y="2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4" name="Freeform 34">
              <a:extLst>
                <a:ext uri="{FF2B5EF4-FFF2-40B4-BE49-F238E27FC236}">
                  <a16:creationId xmlns:a16="http://schemas.microsoft.com/office/drawing/2014/main" id="{AA604724-43F2-4AA6-ADBF-EBD250F0C2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2" y="2167"/>
              <a:ext cx="82" cy="78"/>
            </a:xfrm>
            <a:custGeom>
              <a:avLst/>
              <a:gdLst>
                <a:gd name="T0" fmla="*/ 71 w 121"/>
                <a:gd name="T1" fmla="*/ 25 h 115"/>
                <a:gd name="T2" fmla="*/ 121 w 121"/>
                <a:gd name="T3" fmla="*/ 0 h 115"/>
                <a:gd name="T4" fmla="*/ 121 w 121"/>
                <a:gd name="T5" fmla="*/ 115 h 115"/>
                <a:gd name="T6" fmla="*/ 8 w 121"/>
                <a:gd name="T7" fmla="*/ 80 h 115"/>
                <a:gd name="T8" fmla="*/ 6 w 121"/>
                <a:gd name="T9" fmla="*/ 78 h 115"/>
                <a:gd name="T10" fmla="*/ 0 w 121"/>
                <a:gd name="T11" fmla="*/ 65 h 115"/>
                <a:gd name="T12" fmla="*/ 1 w 121"/>
                <a:gd name="T13" fmla="*/ 59 h 115"/>
                <a:gd name="T14" fmla="*/ 47 w 121"/>
                <a:gd name="T15" fmla="*/ 32 h 115"/>
                <a:gd name="T16" fmla="*/ 61 w 121"/>
                <a:gd name="T17" fmla="*/ 28 h 115"/>
                <a:gd name="T18" fmla="*/ 71 w 121"/>
                <a:gd name="T19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15">
                  <a:moveTo>
                    <a:pt x="71" y="25"/>
                  </a:moveTo>
                  <a:cubicBezTo>
                    <a:pt x="89" y="20"/>
                    <a:pt x="107" y="14"/>
                    <a:pt x="121" y="0"/>
                  </a:cubicBezTo>
                  <a:cubicBezTo>
                    <a:pt x="121" y="8"/>
                    <a:pt x="121" y="111"/>
                    <a:pt x="121" y="115"/>
                  </a:cubicBezTo>
                  <a:cubicBezTo>
                    <a:pt x="83" y="114"/>
                    <a:pt x="40" y="109"/>
                    <a:pt x="8" y="80"/>
                  </a:cubicBezTo>
                  <a:cubicBezTo>
                    <a:pt x="8" y="80"/>
                    <a:pt x="6" y="78"/>
                    <a:pt x="6" y="78"/>
                  </a:cubicBezTo>
                  <a:cubicBezTo>
                    <a:pt x="3" y="73"/>
                    <a:pt x="0" y="70"/>
                    <a:pt x="0" y="65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10" y="42"/>
                    <a:pt x="29" y="37"/>
                    <a:pt x="47" y="32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71" y="25"/>
                    <a:pt x="7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5" name="Freeform 35">
              <a:extLst>
                <a:ext uri="{FF2B5EF4-FFF2-40B4-BE49-F238E27FC236}">
                  <a16:creationId xmlns:a16="http://schemas.microsoft.com/office/drawing/2014/main" id="{FF8CCC84-4410-492D-AB75-F0E32ADB6D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72"/>
              <a:ext cx="81" cy="75"/>
            </a:xfrm>
            <a:custGeom>
              <a:avLst/>
              <a:gdLst>
                <a:gd name="T0" fmla="*/ 0 w 120"/>
                <a:gd name="T1" fmla="*/ 0 h 111"/>
                <a:gd name="T2" fmla="*/ 60 w 120"/>
                <a:gd name="T3" fmla="*/ 27 h 111"/>
                <a:gd name="T4" fmla="*/ 113 w 120"/>
                <a:gd name="T5" fmla="*/ 49 h 111"/>
                <a:gd name="T6" fmla="*/ 120 w 120"/>
                <a:gd name="T7" fmla="*/ 61 h 111"/>
                <a:gd name="T8" fmla="*/ 119 w 120"/>
                <a:gd name="T9" fmla="*/ 67 h 111"/>
                <a:gd name="T10" fmla="*/ 68 w 120"/>
                <a:gd name="T11" fmla="*/ 101 h 111"/>
                <a:gd name="T12" fmla="*/ 0 w 120"/>
                <a:gd name="T13" fmla="*/ 111 h 111"/>
                <a:gd name="T14" fmla="*/ 0 w 120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11">
                  <a:moveTo>
                    <a:pt x="0" y="0"/>
                  </a:moveTo>
                  <a:cubicBezTo>
                    <a:pt x="17" y="15"/>
                    <a:pt x="39" y="21"/>
                    <a:pt x="60" y="27"/>
                  </a:cubicBezTo>
                  <a:cubicBezTo>
                    <a:pt x="78" y="32"/>
                    <a:pt x="97" y="38"/>
                    <a:pt x="113" y="49"/>
                  </a:cubicBezTo>
                  <a:cubicBezTo>
                    <a:pt x="118" y="54"/>
                    <a:pt x="120" y="57"/>
                    <a:pt x="120" y="61"/>
                  </a:cubicBezTo>
                  <a:cubicBezTo>
                    <a:pt x="120" y="63"/>
                    <a:pt x="120" y="65"/>
                    <a:pt x="119" y="67"/>
                  </a:cubicBezTo>
                  <a:cubicBezTo>
                    <a:pt x="109" y="86"/>
                    <a:pt x="85" y="95"/>
                    <a:pt x="68" y="101"/>
                  </a:cubicBezTo>
                  <a:cubicBezTo>
                    <a:pt x="46" y="107"/>
                    <a:pt x="23" y="110"/>
                    <a:pt x="0" y="11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6" name="Freeform 36">
              <a:extLst>
                <a:ext uri="{FF2B5EF4-FFF2-40B4-BE49-F238E27FC236}">
                  <a16:creationId xmlns:a16="http://schemas.microsoft.com/office/drawing/2014/main" id="{B5F8DF22-8B3D-4EEE-8E28-C1ED027897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69" y="2086"/>
              <a:ext cx="185" cy="119"/>
            </a:xfrm>
            <a:custGeom>
              <a:avLst/>
              <a:gdLst>
                <a:gd name="T0" fmla="*/ 37 w 273"/>
                <a:gd name="T1" fmla="*/ 37 h 175"/>
                <a:gd name="T2" fmla="*/ 33 w 273"/>
                <a:gd name="T3" fmla="*/ 0 h 175"/>
                <a:gd name="T4" fmla="*/ 239 w 273"/>
                <a:gd name="T5" fmla="*/ 46 h 175"/>
                <a:gd name="T6" fmla="*/ 273 w 273"/>
                <a:gd name="T7" fmla="*/ 89 h 175"/>
                <a:gd name="T8" fmla="*/ 273 w 273"/>
                <a:gd name="T9" fmla="*/ 91 h 175"/>
                <a:gd name="T10" fmla="*/ 224 w 273"/>
                <a:gd name="T11" fmla="*/ 129 h 175"/>
                <a:gd name="T12" fmla="*/ 196 w 273"/>
                <a:gd name="T13" fmla="*/ 138 h 175"/>
                <a:gd name="T14" fmla="*/ 139 w 273"/>
                <a:gd name="T15" fmla="*/ 175 h 175"/>
                <a:gd name="T16" fmla="*/ 0 w 273"/>
                <a:gd name="T17" fmla="*/ 144 h 175"/>
                <a:gd name="T18" fmla="*/ 37 w 273"/>
                <a:gd name="T19" fmla="*/ 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3" h="175">
                  <a:moveTo>
                    <a:pt x="37" y="37"/>
                  </a:moveTo>
                  <a:cubicBezTo>
                    <a:pt x="37" y="25"/>
                    <a:pt x="36" y="13"/>
                    <a:pt x="33" y="0"/>
                  </a:cubicBezTo>
                  <a:cubicBezTo>
                    <a:pt x="99" y="3"/>
                    <a:pt x="174" y="11"/>
                    <a:pt x="239" y="46"/>
                  </a:cubicBezTo>
                  <a:cubicBezTo>
                    <a:pt x="255" y="56"/>
                    <a:pt x="273" y="70"/>
                    <a:pt x="273" y="89"/>
                  </a:cubicBezTo>
                  <a:cubicBezTo>
                    <a:pt x="273" y="90"/>
                    <a:pt x="273" y="90"/>
                    <a:pt x="273" y="91"/>
                  </a:cubicBezTo>
                  <a:cubicBezTo>
                    <a:pt x="270" y="115"/>
                    <a:pt x="246" y="122"/>
                    <a:pt x="224" y="129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73" y="144"/>
                    <a:pt x="150" y="151"/>
                    <a:pt x="139" y="175"/>
                  </a:cubicBezTo>
                  <a:cubicBezTo>
                    <a:pt x="102" y="153"/>
                    <a:pt x="55" y="142"/>
                    <a:pt x="0" y="144"/>
                  </a:cubicBezTo>
                  <a:cubicBezTo>
                    <a:pt x="24" y="116"/>
                    <a:pt x="37" y="78"/>
                    <a:pt x="3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7" name="Freeform 37">
              <a:extLst>
                <a:ext uri="{FF2B5EF4-FFF2-40B4-BE49-F238E27FC236}">
                  <a16:creationId xmlns:a16="http://schemas.microsoft.com/office/drawing/2014/main" id="{E69696A9-660C-4B94-846F-85502B8882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091"/>
              <a:ext cx="185" cy="118"/>
            </a:xfrm>
            <a:custGeom>
              <a:avLst/>
              <a:gdLst>
                <a:gd name="T0" fmla="*/ 93 w 274"/>
                <a:gd name="T1" fmla="*/ 140 h 173"/>
                <a:gd name="T2" fmla="*/ 91 w 274"/>
                <a:gd name="T3" fmla="*/ 139 h 173"/>
                <a:gd name="T4" fmla="*/ 63 w 274"/>
                <a:gd name="T5" fmla="*/ 131 h 173"/>
                <a:gd name="T6" fmla="*/ 4 w 274"/>
                <a:gd name="T7" fmla="*/ 102 h 173"/>
                <a:gd name="T8" fmla="*/ 0 w 274"/>
                <a:gd name="T9" fmla="*/ 87 h 173"/>
                <a:gd name="T10" fmla="*/ 3 w 274"/>
                <a:gd name="T11" fmla="*/ 74 h 173"/>
                <a:gd name="T12" fmla="*/ 92 w 274"/>
                <a:gd name="T13" fmla="*/ 21 h 173"/>
                <a:gd name="T14" fmla="*/ 101 w 274"/>
                <a:gd name="T15" fmla="*/ 18 h 173"/>
                <a:gd name="T16" fmla="*/ 242 w 274"/>
                <a:gd name="T17" fmla="*/ 0 h 173"/>
                <a:gd name="T18" fmla="*/ 238 w 274"/>
                <a:gd name="T19" fmla="*/ 39 h 173"/>
                <a:gd name="T20" fmla="*/ 274 w 274"/>
                <a:gd name="T21" fmla="*/ 144 h 173"/>
                <a:gd name="T22" fmla="*/ 135 w 274"/>
                <a:gd name="T23" fmla="*/ 173 h 173"/>
                <a:gd name="T24" fmla="*/ 93 w 274"/>
                <a:gd name="T25" fmla="*/ 14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" h="173">
                  <a:moveTo>
                    <a:pt x="93" y="140"/>
                  </a:moveTo>
                  <a:cubicBezTo>
                    <a:pt x="91" y="139"/>
                    <a:pt x="91" y="139"/>
                    <a:pt x="91" y="139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41" y="125"/>
                    <a:pt x="20" y="120"/>
                    <a:pt x="4" y="102"/>
                  </a:cubicBezTo>
                  <a:cubicBezTo>
                    <a:pt x="1" y="98"/>
                    <a:pt x="0" y="93"/>
                    <a:pt x="0" y="87"/>
                  </a:cubicBezTo>
                  <a:cubicBezTo>
                    <a:pt x="0" y="83"/>
                    <a:pt x="1" y="78"/>
                    <a:pt x="3" y="74"/>
                  </a:cubicBezTo>
                  <a:cubicBezTo>
                    <a:pt x="23" y="43"/>
                    <a:pt x="58" y="32"/>
                    <a:pt x="92" y="21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43" y="7"/>
                    <a:pt x="189" y="1"/>
                    <a:pt x="242" y="0"/>
                  </a:cubicBezTo>
                  <a:cubicBezTo>
                    <a:pt x="240" y="13"/>
                    <a:pt x="238" y="26"/>
                    <a:pt x="238" y="39"/>
                  </a:cubicBezTo>
                  <a:cubicBezTo>
                    <a:pt x="238" y="80"/>
                    <a:pt x="251" y="116"/>
                    <a:pt x="274" y="144"/>
                  </a:cubicBezTo>
                  <a:cubicBezTo>
                    <a:pt x="220" y="141"/>
                    <a:pt x="173" y="151"/>
                    <a:pt x="135" y="173"/>
                  </a:cubicBezTo>
                  <a:cubicBezTo>
                    <a:pt x="128" y="154"/>
                    <a:pt x="109" y="146"/>
                    <a:pt x="93" y="1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8" name="Freeform 38">
              <a:extLst>
                <a:ext uri="{FF2B5EF4-FFF2-40B4-BE49-F238E27FC236}">
                  <a16:creationId xmlns:a16="http://schemas.microsoft.com/office/drawing/2014/main" id="{D5AA9DCA-EE69-46BD-8A5C-B2F1A256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0" y="2108"/>
              <a:ext cx="975" cy="256"/>
            </a:xfrm>
            <a:custGeom>
              <a:avLst/>
              <a:gdLst>
                <a:gd name="T0" fmla="*/ 324 w 1439"/>
                <a:gd name="T1" fmla="*/ 163 h 376"/>
                <a:gd name="T2" fmla="*/ 419 w 1439"/>
                <a:gd name="T3" fmla="*/ 102 h 376"/>
                <a:gd name="T4" fmla="*/ 786 w 1439"/>
                <a:gd name="T5" fmla="*/ 16 h 376"/>
                <a:gd name="T6" fmla="*/ 1002 w 1439"/>
                <a:gd name="T7" fmla="*/ 93 h 376"/>
                <a:gd name="T8" fmla="*/ 1063 w 1439"/>
                <a:gd name="T9" fmla="*/ 131 h 376"/>
                <a:gd name="T10" fmla="*/ 1125 w 1439"/>
                <a:gd name="T11" fmla="*/ 172 h 376"/>
                <a:gd name="T12" fmla="*/ 1331 w 1439"/>
                <a:gd name="T13" fmla="*/ 218 h 376"/>
                <a:gd name="T14" fmla="*/ 1414 w 1439"/>
                <a:gd name="T15" fmla="*/ 177 h 376"/>
                <a:gd name="T16" fmla="*/ 1439 w 1439"/>
                <a:gd name="T17" fmla="*/ 307 h 376"/>
                <a:gd name="T18" fmla="*/ 1402 w 1439"/>
                <a:gd name="T19" fmla="*/ 339 h 376"/>
                <a:gd name="T20" fmla="*/ 1398 w 1439"/>
                <a:gd name="T21" fmla="*/ 340 h 376"/>
                <a:gd name="T22" fmla="*/ 1054 w 1439"/>
                <a:gd name="T23" fmla="*/ 284 h 376"/>
                <a:gd name="T24" fmla="*/ 960 w 1439"/>
                <a:gd name="T25" fmla="*/ 222 h 376"/>
                <a:gd name="T26" fmla="*/ 631 w 1439"/>
                <a:gd name="T27" fmla="*/ 158 h 376"/>
                <a:gd name="T28" fmla="*/ 458 w 1439"/>
                <a:gd name="T29" fmla="*/ 233 h 376"/>
                <a:gd name="T30" fmla="*/ 371 w 1439"/>
                <a:gd name="T31" fmla="*/ 289 h 376"/>
                <a:gd name="T32" fmla="*/ 91 w 1439"/>
                <a:gd name="T33" fmla="*/ 348 h 376"/>
                <a:gd name="T34" fmla="*/ 8 w 1439"/>
                <a:gd name="T35" fmla="*/ 315 h 376"/>
                <a:gd name="T36" fmla="*/ 0 w 1439"/>
                <a:gd name="T37" fmla="*/ 300 h 376"/>
                <a:gd name="T38" fmla="*/ 26 w 1439"/>
                <a:gd name="T39" fmla="*/ 172 h 376"/>
                <a:gd name="T40" fmla="*/ 148 w 1439"/>
                <a:gd name="T41" fmla="*/ 217 h 376"/>
                <a:gd name="T42" fmla="*/ 324 w 1439"/>
                <a:gd name="T43" fmla="*/ 16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9" h="376">
                  <a:moveTo>
                    <a:pt x="324" y="163"/>
                  </a:moveTo>
                  <a:cubicBezTo>
                    <a:pt x="419" y="102"/>
                    <a:pt x="419" y="102"/>
                    <a:pt x="419" y="102"/>
                  </a:cubicBezTo>
                  <a:cubicBezTo>
                    <a:pt x="534" y="29"/>
                    <a:pt x="657" y="0"/>
                    <a:pt x="786" y="16"/>
                  </a:cubicBezTo>
                  <a:cubicBezTo>
                    <a:pt x="860" y="26"/>
                    <a:pt x="931" y="51"/>
                    <a:pt x="1002" y="93"/>
                  </a:cubicBezTo>
                  <a:cubicBezTo>
                    <a:pt x="1063" y="131"/>
                    <a:pt x="1063" y="131"/>
                    <a:pt x="1063" y="131"/>
                  </a:cubicBezTo>
                  <a:cubicBezTo>
                    <a:pt x="1125" y="172"/>
                    <a:pt x="1125" y="172"/>
                    <a:pt x="1125" y="172"/>
                  </a:cubicBezTo>
                  <a:cubicBezTo>
                    <a:pt x="1185" y="213"/>
                    <a:pt x="1258" y="229"/>
                    <a:pt x="1331" y="218"/>
                  </a:cubicBezTo>
                  <a:cubicBezTo>
                    <a:pt x="1360" y="211"/>
                    <a:pt x="1392" y="204"/>
                    <a:pt x="1414" y="177"/>
                  </a:cubicBezTo>
                  <a:cubicBezTo>
                    <a:pt x="1416" y="184"/>
                    <a:pt x="1439" y="307"/>
                    <a:pt x="1439" y="307"/>
                  </a:cubicBezTo>
                  <a:cubicBezTo>
                    <a:pt x="1436" y="324"/>
                    <a:pt x="1417" y="332"/>
                    <a:pt x="1402" y="339"/>
                  </a:cubicBezTo>
                  <a:cubicBezTo>
                    <a:pt x="1398" y="340"/>
                    <a:pt x="1398" y="340"/>
                    <a:pt x="1398" y="340"/>
                  </a:cubicBezTo>
                  <a:cubicBezTo>
                    <a:pt x="1290" y="376"/>
                    <a:pt x="1158" y="355"/>
                    <a:pt x="1054" y="284"/>
                  </a:cubicBezTo>
                  <a:cubicBezTo>
                    <a:pt x="1054" y="284"/>
                    <a:pt x="960" y="222"/>
                    <a:pt x="960" y="222"/>
                  </a:cubicBezTo>
                  <a:cubicBezTo>
                    <a:pt x="862" y="159"/>
                    <a:pt x="746" y="136"/>
                    <a:pt x="631" y="158"/>
                  </a:cubicBezTo>
                  <a:cubicBezTo>
                    <a:pt x="575" y="169"/>
                    <a:pt x="520" y="193"/>
                    <a:pt x="458" y="233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286" y="343"/>
                    <a:pt x="187" y="364"/>
                    <a:pt x="91" y="348"/>
                  </a:cubicBezTo>
                  <a:cubicBezTo>
                    <a:pt x="62" y="343"/>
                    <a:pt x="31" y="337"/>
                    <a:pt x="8" y="315"/>
                  </a:cubicBezTo>
                  <a:cubicBezTo>
                    <a:pt x="3" y="310"/>
                    <a:pt x="1" y="306"/>
                    <a:pt x="0" y="300"/>
                  </a:cubicBezTo>
                  <a:cubicBezTo>
                    <a:pt x="0" y="300"/>
                    <a:pt x="23" y="188"/>
                    <a:pt x="26" y="172"/>
                  </a:cubicBezTo>
                  <a:cubicBezTo>
                    <a:pt x="58" y="207"/>
                    <a:pt x="103" y="215"/>
                    <a:pt x="148" y="217"/>
                  </a:cubicBezTo>
                  <a:cubicBezTo>
                    <a:pt x="206" y="220"/>
                    <a:pt x="262" y="203"/>
                    <a:pt x="324" y="1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19" name="Freeform 39">
              <a:extLst>
                <a:ext uri="{FF2B5EF4-FFF2-40B4-BE49-F238E27FC236}">
                  <a16:creationId xmlns:a16="http://schemas.microsoft.com/office/drawing/2014/main" id="{86B51C72-FF47-444D-BAB2-11F50AC9F5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74" y="2137"/>
              <a:ext cx="925" cy="195"/>
            </a:xfrm>
            <a:custGeom>
              <a:avLst/>
              <a:gdLst>
                <a:gd name="T0" fmla="*/ 437 w 1365"/>
                <a:gd name="T1" fmla="*/ 67 h 287"/>
                <a:gd name="T2" fmla="*/ 431 w 1365"/>
                <a:gd name="T3" fmla="*/ 150 h 287"/>
                <a:gd name="T4" fmla="*/ 474 w 1365"/>
                <a:gd name="T5" fmla="*/ 123 h 287"/>
                <a:gd name="T6" fmla="*/ 1358 w 1365"/>
                <a:gd name="T7" fmla="*/ 254 h 287"/>
                <a:gd name="T8" fmla="*/ 1336 w 1365"/>
                <a:gd name="T9" fmla="*/ 226 h 287"/>
                <a:gd name="T10" fmla="*/ 1340 w 1365"/>
                <a:gd name="T11" fmla="*/ 194 h 287"/>
                <a:gd name="T12" fmla="*/ 1362 w 1365"/>
                <a:gd name="T13" fmla="*/ 272 h 287"/>
                <a:gd name="T14" fmla="*/ 1270 w 1365"/>
                <a:gd name="T15" fmla="*/ 248 h 287"/>
                <a:gd name="T16" fmla="*/ 1276 w 1365"/>
                <a:gd name="T17" fmla="*/ 277 h 287"/>
                <a:gd name="T18" fmla="*/ 1167 w 1365"/>
                <a:gd name="T19" fmla="*/ 204 h 287"/>
                <a:gd name="T20" fmla="*/ 1164 w 1365"/>
                <a:gd name="T21" fmla="*/ 276 h 287"/>
                <a:gd name="T22" fmla="*/ 1110 w 1365"/>
                <a:gd name="T23" fmla="*/ 225 h 287"/>
                <a:gd name="T24" fmla="*/ 1061 w 1365"/>
                <a:gd name="T25" fmla="*/ 231 h 287"/>
                <a:gd name="T26" fmla="*/ 1109 w 1365"/>
                <a:gd name="T27" fmla="*/ 237 h 287"/>
                <a:gd name="T28" fmla="*/ 1129 w 1365"/>
                <a:gd name="T29" fmla="*/ 189 h 287"/>
                <a:gd name="T30" fmla="*/ 1063 w 1365"/>
                <a:gd name="T31" fmla="*/ 149 h 287"/>
                <a:gd name="T32" fmla="*/ 1048 w 1365"/>
                <a:gd name="T33" fmla="*/ 228 h 287"/>
                <a:gd name="T34" fmla="*/ 986 w 1365"/>
                <a:gd name="T35" fmla="*/ 97 h 287"/>
                <a:gd name="T36" fmla="*/ 963 w 1365"/>
                <a:gd name="T37" fmla="*/ 80 h 287"/>
                <a:gd name="T38" fmla="*/ 919 w 1365"/>
                <a:gd name="T39" fmla="*/ 139 h 287"/>
                <a:gd name="T40" fmla="*/ 985 w 1365"/>
                <a:gd name="T41" fmla="*/ 116 h 287"/>
                <a:gd name="T42" fmla="*/ 887 w 1365"/>
                <a:gd name="T43" fmla="*/ 93 h 287"/>
                <a:gd name="T44" fmla="*/ 909 w 1365"/>
                <a:gd name="T45" fmla="*/ 52 h 287"/>
                <a:gd name="T46" fmla="*/ 854 w 1365"/>
                <a:gd name="T47" fmla="*/ 111 h 287"/>
                <a:gd name="T48" fmla="*/ 885 w 1365"/>
                <a:gd name="T49" fmla="*/ 120 h 287"/>
                <a:gd name="T50" fmla="*/ 833 w 1365"/>
                <a:gd name="T51" fmla="*/ 77 h 287"/>
                <a:gd name="T52" fmla="*/ 840 w 1365"/>
                <a:gd name="T53" fmla="*/ 50 h 287"/>
                <a:gd name="T54" fmla="*/ 805 w 1365"/>
                <a:gd name="T55" fmla="*/ 26 h 287"/>
                <a:gd name="T56" fmla="*/ 782 w 1365"/>
                <a:gd name="T57" fmla="*/ 16 h 287"/>
                <a:gd name="T58" fmla="*/ 764 w 1365"/>
                <a:gd name="T59" fmla="*/ 63 h 287"/>
                <a:gd name="T60" fmla="*/ 716 w 1365"/>
                <a:gd name="T61" fmla="*/ 76 h 287"/>
                <a:gd name="T62" fmla="*/ 742 w 1365"/>
                <a:gd name="T63" fmla="*/ 20 h 287"/>
                <a:gd name="T64" fmla="*/ 689 w 1365"/>
                <a:gd name="T65" fmla="*/ 47 h 287"/>
                <a:gd name="T66" fmla="*/ 706 w 1365"/>
                <a:gd name="T67" fmla="*/ 18 h 287"/>
                <a:gd name="T68" fmla="*/ 652 w 1365"/>
                <a:gd name="T69" fmla="*/ 76 h 287"/>
                <a:gd name="T70" fmla="*/ 610 w 1365"/>
                <a:gd name="T71" fmla="*/ 40 h 287"/>
                <a:gd name="T72" fmla="*/ 623 w 1365"/>
                <a:gd name="T73" fmla="*/ 48 h 287"/>
                <a:gd name="T74" fmla="*/ 582 w 1365"/>
                <a:gd name="T75" fmla="*/ 88 h 287"/>
                <a:gd name="T76" fmla="*/ 625 w 1365"/>
                <a:gd name="T77" fmla="*/ 78 h 287"/>
                <a:gd name="T78" fmla="*/ 560 w 1365"/>
                <a:gd name="T79" fmla="*/ 72 h 287"/>
                <a:gd name="T80" fmla="*/ 551 w 1365"/>
                <a:gd name="T81" fmla="*/ 42 h 287"/>
                <a:gd name="T82" fmla="*/ 507 w 1365"/>
                <a:gd name="T83" fmla="*/ 72 h 287"/>
                <a:gd name="T84" fmla="*/ 367 w 1365"/>
                <a:gd name="T85" fmla="*/ 140 h 287"/>
                <a:gd name="T86" fmla="*/ 396 w 1365"/>
                <a:gd name="T87" fmla="*/ 133 h 287"/>
                <a:gd name="T88" fmla="*/ 394 w 1365"/>
                <a:gd name="T89" fmla="*/ 175 h 287"/>
                <a:gd name="T90" fmla="*/ 409 w 1365"/>
                <a:gd name="T91" fmla="*/ 161 h 287"/>
                <a:gd name="T92" fmla="*/ 325 w 1365"/>
                <a:gd name="T93" fmla="*/ 204 h 287"/>
                <a:gd name="T94" fmla="*/ 323 w 1365"/>
                <a:gd name="T95" fmla="*/ 166 h 287"/>
                <a:gd name="T96" fmla="*/ 317 w 1365"/>
                <a:gd name="T97" fmla="*/ 134 h 287"/>
                <a:gd name="T98" fmla="*/ 367 w 1365"/>
                <a:gd name="T99" fmla="*/ 196 h 287"/>
                <a:gd name="T100" fmla="*/ 266 w 1365"/>
                <a:gd name="T101" fmla="*/ 165 h 287"/>
                <a:gd name="T102" fmla="*/ 240 w 1365"/>
                <a:gd name="T103" fmla="*/ 195 h 287"/>
                <a:gd name="T104" fmla="*/ 281 w 1365"/>
                <a:gd name="T105" fmla="*/ 242 h 287"/>
                <a:gd name="T106" fmla="*/ 208 w 1365"/>
                <a:gd name="T107" fmla="*/ 196 h 287"/>
                <a:gd name="T108" fmla="*/ 204 w 1365"/>
                <a:gd name="T109" fmla="*/ 256 h 287"/>
                <a:gd name="T110" fmla="*/ 165 w 1365"/>
                <a:gd name="T111" fmla="*/ 277 h 287"/>
                <a:gd name="T112" fmla="*/ 121 w 1365"/>
                <a:gd name="T113" fmla="*/ 265 h 287"/>
                <a:gd name="T114" fmla="*/ 86 w 1365"/>
                <a:gd name="T115" fmla="*/ 214 h 287"/>
                <a:gd name="T116" fmla="*/ 28 w 1365"/>
                <a:gd name="T117" fmla="*/ 208 h 287"/>
                <a:gd name="T118" fmla="*/ 4 w 1365"/>
                <a:gd name="T119" fmla="*/ 262 h 287"/>
                <a:gd name="T120" fmla="*/ 39 w 1365"/>
                <a:gd name="T121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5" h="287">
                  <a:moveTo>
                    <a:pt x="454" y="105"/>
                  </a:moveTo>
                  <a:cubicBezTo>
                    <a:pt x="452" y="105"/>
                    <a:pt x="441" y="110"/>
                    <a:pt x="439" y="112"/>
                  </a:cubicBezTo>
                  <a:cubicBezTo>
                    <a:pt x="439" y="110"/>
                    <a:pt x="434" y="85"/>
                    <a:pt x="434" y="82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8" y="88"/>
                    <a:pt x="454" y="104"/>
                    <a:pt x="455" y="104"/>
                  </a:cubicBezTo>
                  <a:lnTo>
                    <a:pt x="454" y="105"/>
                  </a:lnTo>
                  <a:close/>
                  <a:moveTo>
                    <a:pt x="487" y="114"/>
                  </a:moveTo>
                  <a:cubicBezTo>
                    <a:pt x="441" y="71"/>
                    <a:pt x="441" y="71"/>
                    <a:pt x="441" y="71"/>
                  </a:cubicBezTo>
                  <a:cubicBezTo>
                    <a:pt x="440" y="70"/>
                    <a:pt x="437" y="67"/>
                    <a:pt x="437" y="67"/>
                  </a:cubicBezTo>
                  <a:cubicBezTo>
                    <a:pt x="436" y="66"/>
                    <a:pt x="436" y="65"/>
                    <a:pt x="438" y="64"/>
                  </a:cubicBezTo>
                  <a:cubicBezTo>
                    <a:pt x="438" y="63"/>
                    <a:pt x="437" y="62"/>
                    <a:pt x="437" y="62"/>
                  </a:cubicBezTo>
                  <a:cubicBezTo>
                    <a:pt x="436" y="61"/>
                    <a:pt x="415" y="72"/>
                    <a:pt x="415" y="72"/>
                  </a:cubicBezTo>
                  <a:cubicBezTo>
                    <a:pt x="415" y="73"/>
                    <a:pt x="416" y="75"/>
                    <a:pt x="416" y="75"/>
                  </a:cubicBezTo>
                  <a:cubicBezTo>
                    <a:pt x="419" y="75"/>
                    <a:pt x="419" y="75"/>
                    <a:pt x="419" y="75"/>
                  </a:cubicBezTo>
                  <a:cubicBezTo>
                    <a:pt x="419" y="75"/>
                    <a:pt x="420" y="80"/>
                    <a:pt x="420" y="80"/>
                  </a:cubicBezTo>
                  <a:cubicBezTo>
                    <a:pt x="421" y="80"/>
                    <a:pt x="431" y="143"/>
                    <a:pt x="431" y="143"/>
                  </a:cubicBezTo>
                  <a:cubicBezTo>
                    <a:pt x="431" y="145"/>
                    <a:pt x="431" y="146"/>
                    <a:pt x="430" y="147"/>
                  </a:cubicBezTo>
                  <a:cubicBezTo>
                    <a:pt x="430" y="148"/>
                    <a:pt x="431" y="150"/>
                    <a:pt x="431" y="150"/>
                  </a:cubicBezTo>
                  <a:cubicBezTo>
                    <a:pt x="432" y="150"/>
                    <a:pt x="448" y="141"/>
                    <a:pt x="448" y="141"/>
                  </a:cubicBezTo>
                  <a:cubicBezTo>
                    <a:pt x="449" y="141"/>
                    <a:pt x="449" y="141"/>
                    <a:pt x="449" y="141"/>
                  </a:cubicBezTo>
                  <a:cubicBezTo>
                    <a:pt x="448" y="139"/>
                    <a:pt x="448" y="139"/>
                    <a:pt x="448" y="139"/>
                  </a:cubicBezTo>
                  <a:cubicBezTo>
                    <a:pt x="445" y="139"/>
                    <a:pt x="444" y="139"/>
                    <a:pt x="444" y="138"/>
                  </a:cubicBezTo>
                  <a:cubicBezTo>
                    <a:pt x="444" y="138"/>
                    <a:pt x="443" y="135"/>
                    <a:pt x="443" y="135"/>
                  </a:cubicBezTo>
                  <a:cubicBezTo>
                    <a:pt x="443" y="135"/>
                    <a:pt x="441" y="123"/>
                    <a:pt x="441" y="123"/>
                  </a:cubicBezTo>
                  <a:cubicBezTo>
                    <a:pt x="441" y="124"/>
                    <a:pt x="463" y="112"/>
                    <a:pt x="463" y="112"/>
                  </a:cubicBezTo>
                  <a:cubicBezTo>
                    <a:pt x="463" y="113"/>
                    <a:pt x="472" y="121"/>
                    <a:pt x="472" y="121"/>
                  </a:cubicBezTo>
                  <a:cubicBezTo>
                    <a:pt x="473" y="121"/>
                    <a:pt x="474" y="123"/>
                    <a:pt x="474" y="123"/>
                  </a:cubicBezTo>
                  <a:cubicBezTo>
                    <a:pt x="474" y="123"/>
                    <a:pt x="474" y="123"/>
                    <a:pt x="474" y="123"/>
                  </a:cubicBezTo>
                  <a:cubicBezTo>
                    <a:pt x="474" y="123"/>
                    <a:pt x="474" y="124"/>
                    <a:pt x="473" y="124"/>
                  </a:cubicBezTo>
                  <a:cubicBezTo>
                    <a:pt x="473" y="125"/>
                    <a:pt x="473" y="125"/>
                    <a:pt x="473" y="125"/>
                  </a:cubicBezTo>
                  <a:cubicBezTo>
                    <a:pt x="473" y="126"/>
                    <a:pt x="473" y="127"/>
                    <a:pt x="473" y="127"/>
                  </a:cubicBezTo>
                  <a:cubicBezTo>
                    <a:pt x="474" y="128"/>
                    <a:pt x="492" y="119"/>
                    <a:pt x="492" y="119"/>
                  </a:cubicBezTo>
                  <a:cubicBezTo>
                    <a:pt x="492" y="117"/>
                    <a:pt x="491" y="116"/>
                    <a:pt x="491" y="116"/>
                  </a:cubicBezTo>
                  <a:cubicBezTo>
                    <a:pt x="489" y="116"/>
                    <a:pt x="488" y="116"/>
                    <a:pt x="487" y="114"/>
                  </a:cubicBezTo>
                  <a:moveTo>
                    <a:pt x="1361" y="254"/>
                  </a:moveTo>
                  <a:cubicBezTo>
                    <a:pt x="1360" y="253"/>
                    <a:pt x="1358" y="254"/>
                    <a:pt x="1358" y="254"/>
                  </a:cubicBezTo>
                  <a:cubicBezTo>
                    <a:pt x="1358" y="256"/>
                    <a:pt x="1357" y="257"/>
                    <a:pt x="1354" y="258"/>
                  </a:cubicBezTo>
                  <a:cubicBezTo>
                    <a:pt x="1354" y="258"/>
                    <a:pt x="1323" y="266"/>
                    <a:pt x="1322" y="266"/>
                  </a:cubicBezTo>
                  <a:cubicBezTo>
                    <a:pt x="1322" y="266"/>
                    <a:pt x="1323" y="266"/>
                    <a:pt x="1323" y="266"/>
                  </a:cubicBezTo>
                  <a:cubicBezTo>
                    <a:pt x="1323" y="263"/>
                    <a:pt x="1319" y="249"/>
                    <a:pt x="1318" y="247"/>
                  </a:cubicBezTo>
                  <a:cubicBezTo>
                    <a:pt x="1320" y="247"/>
                    <a:pt x="1335" y="243"/>
                    <a:pt x="1335" y="243"/>
                  </a:cubicBezTo>
                  <a:cubicBezTo>
                    <a:pt x="1339" y="242"/>
                    <a:pt x="1339" y="242"/>
                    <a:pt x="1340" y="244"/>
                  </a:cubicBezTo>
                  <a:cubicBezTo>
                    <a:pt x="1340" y="244"/>
                    <a:pt x="1342" y="243"/>
                    <a:pt x="1342" y="243"/>
                  </a:cubicBezTo>
                  <a:cubicBezTo>
                    <a:pt x="1343" y="243"/>
                    <a:pt x="1339" y="226"/>
                    <a:pt x="1339" y="226"/>
                  </a:cubicBezTo>
                  <a:cubicBezTo>
                    <a:pt x="1338" y="226"/>
                    <a:pt x="1336" y="226"/>
                    <a:pt x="1336" y="226"/>
                  </a:cubicBezTo>
                  <a:cubicBezTo>
                    <a:pt x="1335" y="228"/>
                    <a:pt x="1335" y="229"/>
                    <a:pt x="1332" y="230"/>
                  </a:cubicBezTo>
                  <a:cubicBezTo>
                    <a:pt x="1332" y="230"/>
                    <a:pt x="1314" y="234"/>
                    <a:pt x="1314" y="234"/>
                  </a:cubicBezTo>
                  <a:cubicBezTo>
                    <a:pt x="1314" y="234"/>
                    <a:pt x="1314" y="234"/>
                    <a:pt x="1314" y="234"/>
                  </a:cubicBezTo>
                  <a:cubicBezTo>
                    <a:pt x="1314" y="232"/>
                    <a:pt x="1311" y="217"/>
                    <a:pt x="1311" y="217"/>
                  </a:cubicBezTo>
                  <a:cubicBezTo>
                    <a:pt x="1311" y="218"/>
                    <a:pt x="1340" y="210"/>
                    <a:pt x="1340" y="210"/>
                  </a:cubicBezTo>
                  <a:cubicBezTo>
                    <a:pt x="1343" y="210"/>
                    <a:pt x="1344" y="210"/>
                    <a:pt x="1344" y="211"/>
                  </a:cubicBezTo>
                  <a:cubicBezTo>
                    <a:pt x="1345" y="211"/>
                    <a:pt x="1347" y="211"/>
                    <a:pt x="1347" y="211"/>
                  </a:cubicBezTo>
                  <a:cubicBezTo>
                    <a:pt x="1347" y="210"/>
                    <a:pt x="1343" y="194"/>
                    <a:pt x="1343" y="194"/>
                  </a:cubicBezTo>
                  <a:cubicBezTo>
                    <a:pt x="1342" y="193"/>
                    <a:pt x="1340" y="194"/>
                    <a:pt x="1340" y="194"/>
                  </a:cubicBezTo>
                  <a:cubicBezTo>
                    <a:pt x="1340" y="196"/>
                    <a:pt x="1340" y="196"/>
                    <a:pt x="1336" y="197"/>
                  </a:cubicBezTo>
                  <a:cubicBezTo>
                    <a:pt x="1288" y="210"/>
                    <a:pt x="1288" y="210"/>
                    <a:pt x="1288" y="210"/>
                  </a:cubicBezTo>
                  <a:cubicBezTo>
                    <a:pt x="1288" y="211"/>
                    <a:pt x="1288" y="213"/>
                    <a:pt x="1288" y="213"/>
                  </a:cubicBezTo>
                  <a:cubicBezTo>
                    <a:pt x="1293" y="213"/>
                    <a:pt x="1293" y="213"/>
                    <a:pt x="1294" y="215"/>
                  </a:cubicBezTo>
                  <a:cubicBezTo>
                    <a:pt x="1310" y="276"/>
                    <a:pt x="1310" y="276"/>
                    <a:pt x="1310" y="276"/>
                  </a:cubicBezTo>
                  <a:cubicBezTo>
                    <a:pt x="1310" y="278"/>
                    <a:pt x="1310" y="279"/>
                    <a:pt x="1307" y="280"/>
                  </a:cubicBezTo>
                  <a:cubicBezTo>
                    <a:pt x="1306" y="281"/>
                    <a:pt x="1307" y="283"/>
                    <a:pt x="1307" y="283"/>
                  </a:cubicBezTo>
                  <a:cubicBezTo>
                    <a:pt x="1308" y="284"/>
                    <a:pt x="1357" y="271"/>
                    <a:pt x="1357" y="271"/>
                  </a:cubicBezTo>
                  <a:cubicBezTo>
                    <a:pt x="1361" y="270"/>
                    <a:pt x="1361" y="270"/>
                    <a:pt x="1362" y="272"/>
                  </a:cubicBezTo>
                  <a:cubicBezTo>
                    <a:pt x="1363" y="272"/>
                    <a:pt x="1365" y="272"/>
                    <a:pt x="1365" y="272"/>
                  </a:cubicBezTo>
                  <a:cubicBezTo>
                    <a:pt x="1365" y="271"/>
                    <a:pt x="1361" y="254"/>
                    <a:pt x="1361" y="254"/>
                  </a:cubicBezTo>
                  <a:moveTo>
                    <a:pt x="1270" y="248"/>
                  </a:moveTo>
                  <a:cubicBezTo>
                    <a:pt x="1270" y="267"/>
                    <a:pt x="1264" y="273"/>
                    <a:pt x="1246" y="273"/>
                  </a:cubicBezTo>
                  <a:cubicBezTo>
                    <a:pt x="1246" y="273"/>
                    <a:pt x="1237" y="273"/>
                    <a:pt x="1237" y="273"/>
                  </a:cubicBezTo>
                  <a:cubicBezTo>
                    <a:pt x="1237" y="273"/>
                    <a:pt x="1237" y="273"/>
                    <a:pt x="1237" y="273"/>
                  </a:cubicBezTo>
                  <a:cubicBezTo>
                    <a:pt x="1238" y="273"/>
                    <a:pt x="1238" y="228"/>
                    <a:pt x="1238" y="224"/>
                  </a:cubicBezTo>
                  <a:cubicBezTo>
                    <a:pt x="1240" y="224"/>
                    <a:pt x="1246" y="224"/>
                    <a:pt x="1246" y="224"/>
                  </a:cubicBezTo>
                  <a:cubicBezTo>
                    <a:pt x="1264" y="224"/>
                    <a:pt x="1270" y="230"/>
                    <a:pt x="1270" y="248"/>
                  </a:cubicBezTo>
                  <a:close/>
                  <a:moveTo>
                    <a:pt x="1251" y="210"/>
                  </a:moveTo>
                  <a:cubicBezTo>
                    <a:pt x="1220" y="210"/>
                    <a:pt x="1220" y="210"/>
                    <a:pt x="1220" y="210"/>
                  </a:cubicBezTo>
                  <a:cubicBezTo>
                    <a:pt x="1219" y="211"/>
                    <a:pt x="1219" y="213"/>
                    <a:pt x="1219" y="213"/>
                  </a:cubicBezTo>
                  <a:cubicBezTo>
                    <a:pt x="1222" y="214"/>
                    <a:pt x="1223" y="215"/>
                    <a:pt x="1222" y="217"/>
                  </a:cubicBezTo>
                  <a:cubicBezTo>
                    <a:pt x="1222" y="217"/>
                    <a:pt x="1222" y="280"/>
                    <a:pt x="1222" y="280"/>
                  </a:cubicBezTo>
                  <a:cubicBezTo>
                    <a:pt x="1222" y="282"/>
                    <a:pt x="1222" y="283"/>
                    <a:pt x="1219" y="283"/>
                  </a:cubicBezTo>
                  <a:cubicBezTo>
                    <a:pt x="1219" y="286"/>
                    <a:pt x="1219" y="286"/>
                    <a:pt x="1219" y="286"/>
                  </a:cubicBezTo>
                  <a:cubicBezTo>
                    <a:pt x="1220" y="286"/>
                    <a:pt x="1248" y="287"/>
                    <a:pt x="1248" y="287"/>
                  </a:cubicBezTo>
                  <a:cubicBezTo>
                    <a:pt x="1260" y="287"/>
                    <a:pt x="1270" y="283"/>
                    <a:pt x="1276" y="277"/>
                  </a:cubicBezTo>
                  <a:cubicBezTo>
                    <a:pt x="1283" y="271"/>
                    <a:pt x="1286" y="261"/>
                    <a:pt x="1286" y="249"/>
                  </a:cubicBezTo>
                  <a:cubicBezTo>
                    <a:pt x="1286" y="225"/>
                    <a:pt x="1273" y="210"/>
                    <a:pt x="1251" y="210"/>
                  </a:cubicBezTo>
                  <a:moveTo>
                    <a:pt x="1194" y="207"/>
                  </a:moveTo>
                  <a:cubicBezTo>
                    <a:pt x="1197" y="209"/>
                    <a:pt x="1197" y="210"/>
                    <a:pt x="1197" y="211"/>
                  </a:cubicBezTo>
                  <a:cubicBezTo>
                    <a:pt x="1186" y="252"/>
                    <a:pt x="1186" y="252"/>
                    <a:pt x="1186" y="252"/>
                  </a:cubicBezTo>
                  <a:cubicBezTo>
                    <a:pt x="1184" y="262"/>
                    <a:pt x="1177" y="266"/>
                    <a:pt x="1168" y="263"/>
                  </a:cubicBezTo>
                  <a:cubicBezTo>
                    <a:pt x="1163" y="262"/>
                    <a:pt x="1160" y="260"/>
                    <a:pt x="1158" y="257"/>
                  </a:cubicBezTo>
                  <a:cubicBezTo>
                    <a:pt x="1156" y="254"/>
                    <a:pt x="1156" y="250"/>
                    <a:pt x="1157" y="245"/>
                  </a:cubicBezTo>
                  <a:cubicBezTo>
                    <a:pt x="1167" y="204"/>
                    <a:pt x="1167" y="204"/>
                    <a:pt x="1167" y="204"/>
                  </a:cubicBezTo>
                  <a:cubicBezTo>
                    <a:pt x="1168" y="202"/>
                    <a:pt x="1168" y="202"/>
                    <a:pt x="1171" y="202"/>
                  </a:cubicBezTo>
                  <a:cubicBezTo>
                    <a:pt x="1171" y="201"/>
                    <a:pt x="1172" y="199"/>
                    <a:pt x="1172" y="199"/>
                  </a:cubicBezTo>
                  <a:cubicBezTo>
                    <a:pt x="1171" y="199"/>
                    <a:pt x="1150" y="193"/>
                    <a:pt x="1150" y="193"/>
                  </a:cubicBezTo>
                  <a:cubicBezTo>
                    <a:pt x="1149" y="193"/>
                    <a:pt x="1149" y="193"/>
                    <a:pt x="1149" y="193"/>
                  </a:cubicBezTo>
                  <a:cubicBezTo>
                    <a:pt x="1149" y="194"/>
                    <a:pt x="1149" y="194"/>
                    <a:pt x="1149" y="194"/>
                  </a:cubicBezTo>
                  <a:cubicBezTo>
                    <a:pt x="1149" y="196"/>
                    <a:pt x="1149" y="196"/>
                    <a:pt x="1149" y="196"/>
                  </a:cubicBezTo>
                  <a:cubicBezTo>
                    <a:pt x="1152" y="198"/>
                    <a:pt x="1152" y="199"/>
                    <a:pt x="1152" y="200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37" y="260"/>
                    <a:pt x="1145" y="272"/>
                    <a:pt x="1164" y="276"/>
                  </a:cubicBezTo>
                  <a:cubicBezTo>
                    <a:pt x="1174" y="279"/>
                    <a:pt x="1182" y="278"/>
                    <a:pt x="1189" y="274"/>
                  </a:cubicBezTo>
                  <a:cubicBezTo>
                    <a:pt x="1194" y="271"/>
                    <a:pt x="1198" y="265"/>
                    <a:pt x="1201" y="256"/>
                  </a:cubicBezTo>
                  <a:cubicBezTo>
                    <a:pt x="1211" y="215"/>
                    <a:pt x="1211" y="215"/>
                    <a:pt x="1211" y="215"/>
                  </a:cubicBezTo>
                  <a:cubicBezTo>
                    <a:pt x="1211" y="213"/>
                    <a:pt x="1212" y="213"/>
                    <a:pt x="1214" y="213"/>
                  </a:cubicBezTo>
                  <a:cubicBezTo>
                    <a:pt x="1215" y="212"/>
                    <a:pt x="1216" y="210"/>
                    <a:pt x="1216" y="210"/>
                  </a:cubicBezTo>
                  <a:cubicBezTo>
                    <a:pt x="1215" y="209"/>
                    <a:pt x="1196" y="205"/>
                    <a:pt x="1196" y="205"/>
                  </a:cubicBezTo>
                  <a:cubicBezTo>
                    <a:pt x="1195" y="205"/>
                    <a:pt x="1194" y="207"/>
                    <a:pt x="1194" y="207"/>
                  </a:cubicBezTo>
                  <a:moveTo>
                    <a:pt x="1114" y="197"/>
                  </a:moveTo>
                  <a:cubicBezTo>
                    <a:pt x="1113" y="202"/>
                    <a:pt x="1110" y="225"/>
                    <a:pt x="1110" y="225"/>
                  </a:cubicBezTo>
                  <a:cubicBezTo>
                    <a:pt x="1109" y="225"/>
                    <a:pt x="1109" y="225"/>
                    <a:pt x="1109" y="225"/>
                  </a:cubicBezTo>
                  <a:cubicBezTo>
                    <a:pt x="1108" y="224"/>
                    <a:pt x="1097" y="219"/>
                    <a:pt x="1095" y="217"/>
                  </a:cubicBezTo>
                  <a:cubicBezTo>
                    <a:pt x="1096" y="216"/>
                    <a:pt x="1112" y="198"/>
                    <a:pt x="1115" y="196"/>
                  </a:cubicBezTo>
                  <a:lnTo>
                    <a:pt x="1114" y="197"/>
                  </a:lnTo>
                  <a:close/>
                  <a:moveTo>
                    <a:pt x="1110" y="177"/>
                  </a:moveTo>
                  <a:cubicBezTo>
                    <a:pt x="1112" y="179"/>
                    <a:pt x="1112" y="180"/>
                    <a:pt x="1112" y="180"/>
                  </a:cubicBezTo>
                  <a:cubicBezTo>
                    <a:pt x="1109" y="183"/>
                    <a:pt x="1109" y="183"/>
                    <a:pt x="1109" y="183"/>
                  </a:cubicBezTo>
                  <a:cubicBezTo>
                    <a:pt x="1109" y="184"/>
                    <a:pt x="1064" y="230"/>
                    <a:pt x="1064" y="230"/>
                  </a:cubicBezTo>
                  <a:cubicBezTo>
                    <a:pt x="1063" y="231"/>
                    <a:pt x="1062" y="232"/>
                    <a:pt x="1061" y="231"/>
                  </a:cubicBezTo>
                  <a:cubicBezTo>
                    <a:pt x="1060" y="232"/>
                    <a:pt x="1059" y="234"/>
                    <a:pt x="1059" y="234"/>
                  </a:cubicBezTo>
                  <a:cubicBezTo>
                    <a:pt x="1059" y="235"/>
                    <a:pt x="1076" y="243"/>
                    <a:pt x="1076" y="243"/>
                  </a:cubicBezTo>
                  <a:cubicBezTo>
                    <a:pt x="1077" y="243"/>
                    <a:pt x="1077" y="243"/>
                    <a:pt x="1077" y="243"/>
                  </a:cubicBezTo>
                  <a:cubicBezTo>
                    <a:pt x="1078" y="240"/>
                    <a:pt x="1078" y="240"/>
                    <a:pt x="1078" y="240"/>
                  </a:cubicBezTo>
                  <a:cubicBezTo>
                    <a:pt x="1077" y="239"/>
                    <a:pt x="1076" y="238"/>
                    <a:pt x="1076" y="238"/>
                  </a:cubicBezTo>
                  <a:cubicBezTo>
                    <a:pt x="1076" y="237"/>
                    <a:pt x="1076" y="237"/>
                    <a:pt x="1076" y="237"/>
                  </a:cubicBezTo>
                  <a:cubicBezTo>
                    <a:pt x="1078" y="235"/>
                    <a:pt x="1078" y="235"/>
                    <a:pt x="1078" y="235"/>
                  </a:cubicBezTo>
                  <a:cubicBezTo>
                    <a:pt x="1078" y="235"/>
                    <a:pt x="1086" y="226"/>
                    <a:pt x="1087" y="226"/>
                  </a:cubicBezTo>
                  <a:cubicBezTo>
                    <a:pt x="1087" y="226"/>
                    <a:pt x="1109" y="237"/>
                    <a:pt x="1109" y="237"/>
                  </a:cubicBezTo>
                  <a:cubicBezTo>
                    <a:pt x="1108" y="237"/>
                    <a:pt x="1107" y="250"/>
                    <a:pt x="1107" y="250"/>
                  </a:cubicBezTo>
                  <a:cubicBezTo>
                    <a:pt x="1107" y="250"/>
                    <a:pt x="1107" y="252"/>
                    <a:pt x="1107" y="252"/>
                  </a:cubicBezTo>
                  <a:cubicBezTo>
                    <a:pt x="1106" y="252"/>
                    <a:pt x="1106" y="253"/>
                    <a:pt x="1104" y="252"/>
                  </a:cubicBezTo>
                  <a:cubicBezTo>
                    <a:pt x="1104" y="252"/>
                    <a:pt x="1103" y="254"/>
                    <a:pt x="1103" y="254"/>
                  </a:cubicBezTo>
                  <a:cubicBezTo>
                    <a:pt x="1103" y="255"/>
                    <a:pt x="1121" y="263"/>
                    <a:pt x="1121" y="263"/>
                  </a:cubicBezTo>
                  <a:cubicBezTo>
                    <a:pt x="1122" y="263"/>
                    <a:pt x="1122" y="261"/>
                    <a:pt x="1122" y="261"/>
                  </a:cubicBezTo>
                  <a:cubicBezTo>
                    <a:pt x="1121" y="260"/>
                    <a:pt x="1121" y="259"/>
                    <a:pt x="1121" y="257"/>
                  </a:cubicBezTo>
                  <a:cubicBezTo>
                    <a:pt x="1128" y="194"/>
                    <a:pt x="1128" y="194"/>
                    <a:pt x="1128" y="194"/>
                  </a:cubicBezTo>
                  <a:cubicBezTo>
                    <a:pt x="1129" y="189"/>
                    <a:pt x="1129" y="189"/>
                    <a:pt x="1129" y="189"/>
                  </a:cubicBezTo>
                  <a:cubicBezTo>
                    <a:pt x="1129" y="188"/>
                    <a:pt x="1130" y="187"/>
                    <a:pt x="1132" y="188"/>
                  </a:cubicBezTo>
                  <a:cubicBezTo>
                    <a:pt x="1133" y="188"/>
                    <a:pt x="1133" y="186"/>
                    <a:pt x="1133" y="186"/>
                  </a:cubicBezTo>
                  <a:cubicBezTo>
                    <a:pt x="1133" y="185"/>
                    <a:pt x="1112" y="175"/>
                    <a:pt x="1112" y="175"/>
                  </a:cubicBezTo>
                  <a:cubicBezTo>
                    <a:pt x="1111" y="175"/>
                    <a:pt x="1110" y="177"/>
                    <a:pt x="1110" y="177"/>
                  </a:cubicBezTo>
                  <a:moveTo>
                    <a:pt x="1058" y="213"/>
                  </a:moveTo>
                  <a:cubicBezTo>
                    <a:pt x="1056" y="215"/>
                    <a:pt x="1055" y="215"/>
                    <a:pt x="1053" y="213"/>
                  </a:cubicBezTo>
                  <a:cubicBezTo>
                    <a:pt x="1053" y="213"/>
                    <a:pt x="1026" y="196"/>
                    <a:pt x="1026" y="196"/>
                  </a:cubicBezTo>
                  <a:cubicBezTo>
                    <a:pt x="1027" y="196"/>
                    <a:pt x="1058" y="149"/>
                    <a:pt x="1058" y="149"/>
                  </a:cubicBezTo>
                  <a:cubicBezTo>
                    <a:pt x="1059" y="148"/>
                    <a:pt x="1060" y="147"/>
                    <a:pt x="1063" y="149"/>
                  </a:cubicBezTo>
                  <a:cubicBezTo>
                    <a:pt x="1064" y="149"/>
                    <a:pt x="1065" y="147"/>
                    <a:pt x="1065" y="147"/>
                  </a:cubicBezTo>
                  <a:cubicBezTo>
                    <a:pt x="1065" y="146"/>
                    <a:pt x="1045" y="133"/>
                    <a:pt x="1045" y="133"/>
                  </a:cubicBezTo>
                  <a:cubicBezTo>
                    <a:pt x="1044" y="133"/>
                    <a:pt x="1043" y="135"/>
                    <a:pt x="1043" y="135"/>
                  </a:cubicBezTo>
                  <a:cubicBezTo>
                    <a:pt x="1046" y="138"/>
                    <a:pt x="1046" y="139"/>
                    <a:pt x="1045" y="141"/>
                  </a:cubicBezTo>
                  <a:cubicBezTo>
                    <a:pt x="1010" y="194"/>
                    <a:pt x="1010" y="194"/>
                    <a:pt x="1010" y="194"/>
                  </a:cubicBezTo>
                  <a:cubicBezTo>
                    <a:pt x="1009" y="195"/>
                    <a:pt x="1008" y="196"/>
                    <a:pt x="1006" y="194"/>
                  </a:cubicBezTo>
                  <a:cubicBezTo>
                    <a:pt x="1005" y="194"/>
                    <a:pt x="1004" y="196"/>
                    <a:pt x="1004" y="196"/>
                  </a:cubicBezTo>
                  <a:cubicBezTo>
                    <a:pt x="1004" y="197"/>
                    <a:pt x="1045" y="224"/>
                    <a:pt x="1045" y="224"/>
                  </a:cubicBezTo>
                  <a:cubicBezTo>
                    <a:pt x="1048" y="226"/>
                    <a:pt x="1048" y="227"/>
                    <a:pt x="1048" y="228"/>
                  </a:cubicBezTo>
                  <a:cubicBezTo>
                    <a:pt x="1048" y="229"/>
                    <a:pt x="1049" y="230"/>
                    <a:pt x="1049" y="230"/>
                  </a:cubicBezTo>
                  <a:cubicBezTo>
                    <a:pt x="1051" y="230"/>
                    <a:pt x="1060" y="215"/>
                    <a:pt x="1060" y="215"/>
                  </a:cubicBezTo>
                  <a:cubicBezTo>
                    <a:pt x="1060" y="214"/>
                    <a:pt x="1058" y="213"/>
                    <a:pt x="1058" y="213"/>
                  </a:cubicBezTo>
                  <a:moveTo>
                    <a:pt x="969" y="167"/>
                  </a:moveTo>
                  <a:cubicBezTo>
                    <a:pt x="1004" y="112"/>
                    <a:pt x="1004" y="112"/>
                    <a:pt x="1004" y="112"/>
                  </a:cubicBezTo>
                  <a:cubicBezTo>
                    <a:pt x="1005" y="111"/>
                    <a:pt x="1005" y="110"/>
                    <a:pt x="1007" y="111"/>
                  </a:cubicBezTo>
                  <a:cubicBezTo>
                    <a:pt x="1008" y="111"/>
                    <a:pt x="1009" y="109"/>
                    <a:pt x="1009" y="109"/>
                  </a:cubicBezTo>
                  <a:cubicBezTo>
                    <a:pt x="1009" y="108"/>
                    <a:pt x="988" y="95"/>
                    <a:pt x="988" y="95"/>
                  </a:cubicBezTo>
                  <a:cubicBezTo>
                    <a:pt x="987" y="95"/>
                    <a:pt x="986" y="97"/>
                    <a:pt x="986" y="97"/>
                  </a:cubicBezTo>
                  <a:cubicBezTo>
                    <a:pt x="986" y="98"/>
                    <a:pt x="987" y="99"/>
                    <a:pt x="987" y="99"/>
                  </a:cubicBezTo>
                  <a:cubicBezTo>
                    <a:pt x="987" y="100"/>
                    <a:pt x="987" y="100"/>
                    <a:pt x="986" y="100"/>
                  </a:cubicBezTo>
                  <a:cubicBezTo>
                    <a:pt x="986" y="101"/>
                    <a:pt x="978" y="106"/>
                    <a:pt x="970" y="112"/>
                  </a:cubicBezTo>
                  <a:cubicBezTo>
                    <a:pt x="970" y="112"/>
                    <a:pt x="953" y="124"/>
                    <a:pt x="950" y="126"/>
                  </a:cubicBezTo>
                  <a:cubicBezTo>
                    <a:pt x="950" y="126"/>
                    <a:pt x="950" y="125"/>
                    <a:pt x="951" y="125"/>
                  </a:cubicBezTo>
                  <a:cubicBezTo>
                    <a:pt x="952" y="121"/>
                    <a:pt x="954" y="108"/>
                    <a:pt x="954" y="108"/>
                  </a:cubicBezTo>
                  <a:cubicBezTo>
                    <a:pt x="956" y="98"/>
                    <a:pt x="958" y="84"/>
                    <a:pt x="959" y="83"/>
                  </a:cubicBezTo>
                  <a:cubicBezTo>
                    <a:pt x="959" y="82"/>
                    <a:pt x="959" y="82"/>
                    <a:pt x="961" y="82"/>
                  </a:cubicBezTo>
                  <a:cubicBezTo>
                    <a:pt x="962" y="82"/>
                    <a:pt x="963" y="80"/>
                    <a:pt x="963" y="80"/>
                  </a:cubicBezTo>
                  <a:cubicBezTo>
                    <a:pt x="963" y="79"/>
                    <a:pt x="941" y="66"/>
                    <a:pt x="941" y="66"/>
                  </a:cubicBezTo>
                  <a:cubicBezTo>
                    <a:pt x="940" y="66"/>
                    <a:pt x="939" y="68"/>
                    <a:pt x="939" y="68"/>
                  </a:cubicBezTo>
                  <a:cubicBezTo>
                    <a:pt x="941" y="70"/>
                    <a:pt x="941" y="71"/>
                    <a:pt x="940" y="72"/>
                  </a:cubicBezTo>
                  <a:cubicBezTo>
                    <a:pt x="906" y="127"/>
                    <a:pt x="906" y="127"/>
                    <a:pt x="906" y="127"/>
                  </a:cubicBezTo>
                  <a:cubicBezTo>
                    <a:pt x="905" y="128"/>
                    <a:pt x="904" y="128"/>
                    <a:pt x="903" y="128"/>
                  </a:cubicBezTo>
                  <a:cubicBezTo>
                    <a:pt x="902" y="128"/>
                    <a:pt x="901" y="130"/>
                    <a:pt x="901" y="130"/>
                  </a:cubicBezTo>
                  <a:cubicBezTo>
                    <a:pt x="901" y="131"/>
                    <a:pt x="917" y="141"/>
                    <a:pt x="917" y="141"/>
                  </a:cubicBezTo>
                  <a:cubicBezTo>
                    <a:pt x="918" y="141"/>
                    <a:pt x="918" y="141"/>
                    <a:pt x="918" y="141"/>
                  </a:cubicBezTo>
                  <a:cubicBezTo>
                    <a:pt x="919" y="139"/>
                    <a:pt x="919" y="139"/>
                    <a:pt x="919" y="139"/>
                  </a:cubicBezTo>
                  <a:cubicBezTo>
                    <a:pt x="918" y="138"/>
                    <a:pt x="918" y="137"/>
                    <a:pt x="918" y="136"/>
                  </a:cubicBezTo>
                  <a:cubicBezTo>
                    <a:pt x="918" y="136"/>
                    <a:pt x="918" y="135"/>
                    <a:pt x="918" y="135"/>
                  </a:cubicBezTo>
                  <a:cubicBezTo>
                    <a:pt x="918" y="135"/>
                    <a:pt x="942" y="97"/>
                    <a:pt x="945" y="92"/>
                  </a:cubicBezTo>
                  <a:cubicBezTo>
                    <a:pt x="945" y="92"/>
                    <a:pt x="945" y="93"/>
                    <a:pt x="945" y="93"/>
                  </a:cubicBezTo>
                  <a:cubicBezTo>
                    <a:pt x="942" y="101"/>
                    <a:pt x="936" y="129"/>
                    <a:pt x="936" y="129"/>
                  </a:cubicBezTo>
                  <a:cubicBezTo>
                    <a:pt x="933" y="150"/>
                    <a:pt x="933" y="150"/>
                    <a:pt x="933" y="150"/>
                  </a:cubicBezTo>
                  <a:cubicBezTo>
                    <a:pt x="933" y="151"/>
                    <a:pt x="935" y="152"/>
                    <a:pt x="935" y="152"/>
                  </a:cubicBezTo>
                  <a:cubicBezTo>
                    <a:pt x="936" y="152"/>
                    <a:pt x="955" y="139"/>
                    <a:pt x="955" y="139"/>
                  </a:cubicBezTo>
                  <a:cubicBezTo>
                    <a:pt x="955" y="139"/>
                    <a:pt x="980" y="119"/>
                    <a:pt x="985" y="116"/>
                  </a:cubicBezTo>
                  <a:cubicBezTo>
                    <a:pt x="984" y="118"/>
                    <a:pt x="984" y="118"/>
                    <a:pt x="984" y="118"/>
                  </a:cubicBezTo>
                  <a:cubicBezTo>
                    <a:pt x="977" y="127"/>
                    <a:pt x="957" y="159"/>
                    <a:pt x="957" y="159"/>
                  </a:cubicBezTo>
                  <a:cubicBezTo>
                    <a:pt x="956" y="160"/>
                    <a:pt x="956" y="161"/>
                    <a:pt x="954" y="160"/>
                  </a:cubicBezTo>
                  <a:cubicBezTo>
                    <a:pt x="953" y="160"/>
                    <a:pt x="952" y="161"/>
                    <a:pt x="952" y="161"/>
                  </a:cubicBezTo>
                  <a:cubicBezTo>
                    <a:pt x="952" y="163"/>
                    <a:pt x="969" y="173"/>
                    <a:pt x="969" y="173"/>
                  </a:cubicBezTo>
                  <a:cubicBezTo>
                    <a:pt x="970" y="173"/>
                    <a:pt x="971" y="171"/>
                    <a:pt x="971" y="171"/>
                  </a:cubicBezTo>
                  <a:cubicBezTo>
                    <a:pt x="969" y="169"/>
                    <a:pt x="969" y="168"/>
                    <a:pt x="969" y="167"/>
                  </a:cubicBezTo>
                  <a:moveTo>
                    <a:pt x="890" y="64"/>
                  </a:moveTo>
                  <a:cubicBezTo>
                    <a:pt x="889" y="69"/>
                    <a:pt x="887" y="92"/>
                    <a:pt x="887" y="93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84" y="91"/>
                    <a:pt x="874" y="86"/>
                    <a:pt x="871" y="85"/>
                  </a:cubicBezTo>
                  <a:cubicBezTo>
                    <a:pt x="873" y="84"/>
                    <a:pt x="888" y="65"/>
                    <a:pt x="890" y="63"/>
                  </a:cubicBezTo>
                  <a:lnTo>
                    <a:pt x="890" y="64"/>
                  </a:lnTo>
                  <a:close/>
                  <a:moveTo>
                    <a:pt x="899" y="124"/>
                  </a:moveTo>
                  <a:cubicBezTo>
                    <a:pt x="904" y="59"/>
                    <a:pt x="904" y="59"/>
                    <a:pt x="904" y="59"/>
                  </a:cubicBezTo>
                  <a:cubicBezTo>
                    <a:pt x="904" y="55"/>
                    <a:pt x="904" y="55"/>
                    <a:pt x="904" y="55"/>
                  </a:cubicBezTo>
                  <a:cubicBezTo>
                    <a:pt x="905" y="55"/>
                    <a:pt x="905" y="54"/>
                    <a:pt x="907" y="55"/>
                  </a:cubicBezTo>
                  <a:cubicBezTo>
                    <a:pt x="908" y="54"/>
                    <a:pt x="909" y="52"/>
                    <a:pt x="909" y="52"/>
                  </a:cubicBezTo>
                  <a:cubicBezTo>
                    <a:pt x="908" y="51"/>
                    <a:pt x="887" y="42"/>
                    <a:pt x="887" y="42"/>
                  </a:cubicBezTo>
                  <a:cubicBezTo>
                    <a:pt x="886" y="43"/>
                    <a:pt x="885" y="44"/>
                    <a:pt x="885" y="44"/>
                  </a:cubicBezTo>
                  <a:cubicBezTo>
                    <a:pt x="887" y="46"/>
                    <a:pt x="887" y="47"/>
                    <a:pt x="887" y="47"/>
                  </a:cubicBezTo>
                  <a:cubicBezTo>
                    <a:pt x="887" y="47"/>
                    <a:pt x="887" y="47"/>
                    <a:pt x="887" y="47"/>
                  </a:cubicBezTo>
                  <a:cubicBezTo>
                    <a:pt x="884" y="51"/>
                    <a:pt x="884" y="51"/>
                    <a:pt x="884" y="51"/>
                  </a:cubicBezTo>
                  <a:cubicBezTo>
                    <a:pt x="884" y="51"/>
                    <a:pt x="841" y="99"/>
                    <a:pt x="841" y="99"/>
                  </a:cubicBezTo>
                  <a:cubicBezTo>
                    <a:pt x="840" y="100"/>
                    <a:pt x="839" y="101"/>
                    <a:pt x="838" y="101"/>
                  </a:cubicBezTo>
                  <a:cubicBezTo>
                    <a:pt x="837" y="101"/>
                    <a:pt x="836" y="103"/>
                    <a:pt x="836" y="103"/>
                  </a:cubicBezTo>
                  <a:cubicBezTo>
                    <a:pt x="837" y="104"/>
                    <a:pt x="854" y="111"/>
                    <a:pt x="854" y="111"/>
                  </a:cubicBezTo>
                  <a:cubicBezTo>
                    <a:pt x="855" y="112"/>
                    <a:pt x="855" y="112"/>
                    <a:pt x="855" y="112"/>
                  </a:cubicBezTo>
                  <a:cubicBezTo>
                    <a:pt x="856" y="109"/>
                    <a:pt x="856" y="109"/>
                    <a:pt x="856" y="109"/>
                  </a:cubicBezTo>
                  <a:cubicBezTo>
                    <a:pt x="854" y="108"/>
                    <a:pt x="854" y="107"/>
                    <a:pt x="854" y="106"/>
                  </a:cubicBezTo>
                  <a:cubicBezTo>
                    <a:pt x="854" y="106"/>
                    <a:pt x="854" y="105"/>
                    <a:pt x="854" y="105"/>
                  </a:cubicBezTo>
                  <a:cubicBezTo>
                    <a:pt x="855" y="103"/>
                    <a:pt x="855" y="103"/>
                    <a:pt x="855" y="103"/>
                  </a:cubicBezTo>
                  <a:cubicBezTo>
                    <a:pt x="855" y="103"/>
                    <a:pt x="864" y="94"/>
                    <a:pt x="864" y="94"/>
                  </a:cubicBezTo>
                  <a:cubicBezTo>
                    <a:pt x="864" y="95"/>
                    <a:pt x="886" y="104"/>
                    <a:pt x="886" y="104"/>
                  </a:cubicBezTo>
                  <a:cubicBezTo>
                    <a:pt x="886" y="104"/>
                    <a:pt x="885" y="117"/>
                    <a:pt x="885" y="117"/>
                  </a:cubicBezTo>
                  <a:cubicBezTo>
                    <a:pt x="885" y="117"/>
                    <a:pt x="885" y="120"/>
                    <a:pt x="885" y="120"/>
                  </a:cubicBezTo>
                  <a:cubicBezTo>
                    <a:pt x="884" y="120"/>
                    <a:pt x="884" y="120"/>
                    <a:pt x="882" y="120"/>
                  </a:cubicBezTo>
                  <a:cubicBezTo>
                    <a:pt x="882" y="120"/>
                    <a:pt x="881" y="122"/>
                    <a:pt x="881" y="122"/>
                  </a:cubicBezTo>
                  <a:cubicBezTo>
                    <a:pt x="881" y="123"/>
                    <a:pt x="899" y="130"/>
                    <a:pt x="899" y="130"/>
                  </a:cubicBezTo>
                  <a:cubicBezTo>
                    <a:pt x="900" y="130"/>
                    <a:pt x="901" y="128"/>
                    <a:pt x="901" y="128"/>
                  </a:cubicBezTo>
                  <a:cubicBezTo>
                    <a:pt x="900" y="127"/>
                    <a:pt x="899" y="126"/>
                    <a:pt x="899" y="124"/>
                  </a:cubicBezTo>
                  <a:moveTo>
                    <a:pt x="840" y="97"/>
                  </a:moveTo>
                  <a:cubicBezTo>
                    <a:pt x="841" y="97"/>
                    <a:pt x="842" y="96"/>
                    <a:pt x="842" y="96"/>
                  </a:cubicBezTo>
                  <a:cubicBezTo>
                    <a:pt x="843" y="95"/>
                    <a:pt x="835" y="77"/>
                    <a:pt x="835" y="77"/>
                  </a:cubicBezTo>
                  <a:cubicBezTo>
                    <a:pt x="834" y="77"/>
                    <a:pt x="833" y="77"/>
                    <a:pt x="833" y="77"/>
                  </a:cubicBezTo>
                  <a:cubicBezTo>
                    <a:pt x="832" y="78"/>
                    <a:pt x="832" y="80"/>
                    <a:pt x="832" y="80"/>
                  </a:cubicBezTo>
                  <a:cubicBezTo>
                    <a:pt x="832" y="80"/>
                    <a:pt x="828" y="84"/>
                    <a:pt x="828" y="84"/>
                  </a:cubicBezTo>
                  <a:cubicBezTo>
                    <a:pt x="825" y="86"/>
                    <a:pt x="820" y="86"/>
                    <a:pt x="815" y="85"/>
                  </a:cubicBezTo>
                  <a:cubicBezTo>
                    <a:pt x="804" y="82"/>
                    <a:pt x="798" y="70"/>
                    <a:pt x="802" y="56"/>
                  </a:cubicBezTo>
                  <a:cubicBezTo>
                    <a:pt x="805" y="46"/>
                    <a:pt x="809" y="40"/>
                    <a:pt x="814" y="37"/>
                  </a:cubicBezTo>
                  <a:cubicBezTo>
                    <a:pt x="818" y="35"/>
                    <a:pt x="823" y="34"/>
                    <a:pt x="829" y="36"/>
                  </a:cubicBezTo>
                  <a:cubicBezTo>
                    <a:pt x="834" y="37"/>
                    <a:pt x="837" y="40"/>
                    <a:pt x="839" y="43"/>
                  </a:cubicBezTo>
                  <a:cubicBezTo>
                    <a:pt x="840" y="49"/>
                    <a:pt x="840" y="49"/>
                    <a:pt x="840" y="49"/>
                  </a:cubicBezTo>
                  <a:cubicBezTo>
                    <a:pt x="840" y="50"/>
                    <a:pt x="840" y="50"/>
                    <a:pt x="840" y="50"/>
                  </a:cubicBezTo>
                  <a:cubicBezTo>
                    <a:pt x="841" y="51"/>
                    <a:pt x="841" y="51"/>
                    <a:pt x="841" y="51"/>
                  </a:cubicBezTo>
                  <a:cubicBezTo>
                    <a:pt x="842" y="51"/>
                    <a:pt x="855" y="37"/>
                    <a:pt x="855" y="37"/>
                  </a:cubicBezTo>
                  <a:cubicBezTo>
                    <a:pt x="857" y="36"/>
                    <a:pt x="857" y="36"/>
                    <a:pt x="857" y="36"/>
                  </a:cubicBezTo>
                  <a:cubicBezTo>
                    <a:pt x="854" y="35"/>
                    <a:pt x="854" y="35"/>
                    <a:pt x="854" y="35"/>
                  </a:cubicBezTo>
                  <a:cubicBezTo>
                    <a:pt x="851" y="36"/>
                    <a:pt x="851" y="36"/>
                    <a:pt x="851" y="36"/>
                  </a:cubicBezTo>
                  <a:cubicBezTo>
                    <a:pt x="849" y="33"/>
                    <a:pt x="849" y="33"/>
                    <a:pt x="849" y="33"/>
                  </a:cubicBezTo>
                  <a:cubicBezTo>
                    <a:pt x="846" y="31"/>
                    <a:pt x="846" y="31"/>
                    <a:pt x="846" y="31"/>
                  </a:cubicBezTo>
                  <a:cubicBezTo>
                    <a:pt x="843" y="27"/>
                    <a:pt x="838" y="25"/>
                    <a:pt x="833" y="23"/>
                  </a:cubicBezTo>
                  <a:cubicBezTo>
                    <a:pt x="823" y="20"/>
                    <a:pt x="813" y="21"/>
                    <a:pt x="805" y="26"/>
                  </a:cubicBezTo>
                  <a:cubicBezTo>
                    <a:pt x="796" y="31"/>
                    <a:pt x="790" y="40"/>
                    <a:pt x="787" y="52"/>
                  </a:cubicBezTo>
                  <a:cubicBezTo>
                    <a:pt x="781" y="73"/>
                    <a:pt x="791" y="92"/>
                    <a:pt x="811" y="98"/>
                  </a:cubicBezTo>
                  <a:cubicBezTo>
                    <a:pt x="823" y="101"/>
                    <a:pt x="830" y="98"/>
                    <a:pt x="835" y="96"/>
                  </a:cubicBezTo>
                  <a:cubicBezTo>
                    <a:pt x="838" y="95"/>
                    <a:pt x="838" y="95"/>
                    <a:pt x="838" y="95"/>
                  </a:cubicBezTo>
                  <a:cubicBezTo>
                    <a:pt x="839" y="95"/>
                    <a:pt x="839" y="96"/>
                    <a:pt x="840" y="97"/>
                  </a:cubicBezTo>
                  <a:moveTo>
                    <a:pt x="769" y="33"/>
                  </a:moveTo>
                  <a:cubicBezTo>
                    <a:pt x="770" y="33"/>
                    <a:pt x="782" y="17"/>
                    <a:pt x="782" y="17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2" y="16"/>
                    <a:pt x="782" y="16"/>
                    <a:pt x="782" y="16"/>
                  </a:cubicBezTo>
                  <a:cubicBezTo>
                    <a:pt x="780" y="15"/>
                    <a:pt x="780" y="15"/>
                    <a:pt x="780" y="15"/>
                  </a:cubicBezTo>
                  <a:cubicBezTo>
                    <a:pt x="779" y="16"/>
                    <a:pt x="778" y="16"/>
                    <a:pt x="777" y="16"/>
                  </a:cubicBezTo>
                  <a:cubicBezTo>
                    <a:pt x="774" y="14"/>
                    <a:pt x="774" y="14"/>
                    <a:pt x="774" y="14"/>
                  </a:cubicBezTo>
                  <a:cubicBezTo>
                    <a:pt x="770" y="12"/>
                    <a:pt x="770" y="12"/>
                    <a:pt x="770" y="12"/>
                  </a:cubicBezTo>
                  <a:cubicBezTo>
                    <a:pt x="766" y="9"/>
                    <a:pt x="760" y="8"/>
                    <a:pt x="754" y="7"/>
                  </a:cubicBezTo>
                  <a:cubicBezTo>
                    <a:pt x="733" y="4"/>
                    <a:pt x="725" y="15"/>
                    <a:pt x="723" y="25"/>
                  </a:cubicBezTo>
                  <a:cubicBezTo>
                    <a:pt x="721" y="41"/>
                    <a:pt x="736" y="46"/>
                    <a:pt x="748" y="51"/>
                  </a:cubicBezTo>
                  <a:cubicBezTo>
                    <a:pt x="757" y="54"/>
                    <a:pt x="764" y="57"/>
                    <a:pt x="764" y="63"/>
                  </a:cubicBezTo>
                  <a:cubicBezTo>
                    <a:pt x="760" y="69"/>
                    <a:pt x="760" y="69"/>
                    <a:pt x="760" y="69"/>
                  </a:cubicBezTo>
                  <a:cubicBezTo>
                    <a:pt x="757" y="71"/>
                    <a:pt x="752" y="72"/>
                    <a:pt x="746" y="71"/>
                  </a:cubicBezTo>
                  <a:cubicBezTo>
                    <a:pt x="740" y="70"/>
                    <a:pt x="731" y="67"/>
                    <a:pt x="729" y="63"/>
                  </a:cubicBezTo>
                  <a:cubicBezTo>
                    <a:pt x="728" y="60"/>
                    <a:pt x="728" y="60"/>
                    <a:pt x="728" y="60"/>
                  </a:cubicBezTo>
                  <a:cubicBezTo>
                    <a:pt x="728" y="58"/>
                    <a:pt x="728" y="58"/>
                    <a:pt x="728" y="58"/>
                  </a:cubicBezTo>
                  <a:cubicBezTo>
                    <a:pt x="726" y="57"/>
                    <a:pt x="726" y="57"/>
                    <a:pt x="726" y="57"/>
                  </a:cubicBezTo>
                  <a:cubicBezTo>
                    <a:pt x="725" y="58"/>
                    <a:pt x="714" y="74"/>
                    <a:pt x="714" y="74"/>
                  </a:cubicBezTo>
                  <a:cubicBezTo>
                    <a:pt x="714" y="75"/>
                    <a:pt x="714" y="75"/>
                    <a:pt x="714" y="75"/>
                  </a:cubicBezTo>
                  <a:cubicBezTo>
                    <a:pt x="716" y="76"/>
                    <a:pt x="716" y="76"/>
                    <a:pt x="716" y="76"/>
                  </a:cubicBezTo>
                  <a:cubicBezTo>
                    <a:pt x="717" y="76"/>
                    <a:pt x="719" y="74"/>
                    <a:pt x="719" y="74"/>
                  </a:cubicBezTo>
                  <a:cubicBezTo>
                    <a:pt x="719" y="74"/>
                    <a:pt x="723" y="76"/>
                    <a:pt x="723" y="76"/>
                  </a:cubicBezTo>
                  <a:cubicBezTo>
                    <a:pt x="727" y="79"/>
                    <a:pt x="727" y="79"/>
                    <a:pt x="727" y="79"/>
                  </a:cubicBezTo>
                  <a:cubicBezTo>
                    <a:pt x="727" y="79"/>
                    <a:pt x="743" y="84"/>
                    <a:pt x="743" y="84"/>
                  </a:cubicBezTo>
                  <a:cubicBezTo>
                    <a:pt x="757" y="86"/>
                    <a:pt x="766" y="82"/>
                    <a:pt x="771" y="79"/>
                  </a:cubicBezTo>
                  <a:cubicBezTo>
                    <a:pt x="775" y="75"/>
                    <a:pt x="778" y="70"/>
                    <a:pt x="779" y="64"/>
                  </a:cubicBezTo>
                  <a:cubicBezTo>
                    <a:pt x="782" y="47"/>
                    <a:pt x="766" y="41"/>
                    <a:pt x="754" y="37"/>
                  </a:cubicBezTo>
                  <a:cubicBezTo>
                    <a:pt x="746" y="34"/>
                    <a:pt x="738" y="31"/>
                    <a:pt x="739" y="25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44" y="19"/>
                    <a:pt x="747" y="18"/>
                    <a:pt x="751" y="19"/>
                  </a:cubicBezTo>
                  <a:cubicBezTo>
                    <a:pt x="761" y="20"/>
                    <a:pt x="765" y="24"/>
                    <a:pt x="766" y="26"/>
                  </a:cubicBezTo>
                  <a:cubicBezTo>
                    <a:pt x="767" y="29"/>
                    <a:pt x="767" y="29"/>
                    <a:pt x="767" y="29"/>
                  </a:cubicBezTo>
                  <a:cubicBezTo>
                    <a:pt x="767" y="30"/>
                    <a:pt x="766" y="31"/>
                    <a:pt x="766" y="31"/>
                  </a:cubicBezTo>
                  <a:cubicBezTo>
                    <a:pt x="767" y="32"/>
                    <a:pt x="769" y="33"/>
                    <a:pt x="769" y="33"/>
                  </a:cubicBezTo>
                  <a:moveTo>
                    <a:pt x="703" y="66"/>
                  </a:moveTo>
                  <a:cubicBezTo>
                    <a:pt x="671" y="66"/>
                    <a:pt x="671" y="66"/>
                    <a:pt x="671" y="66"/>
                  </a:cubicBezTo>
                  <a:cubicBezTo>
                    <a:pt x="671" y="66"/>
                    <a:pt x="671" y="48"/>
                    <a:pt x="671" y="47"/>
                  </a:cubicBezTo>
                  <a:cubicBezTo>
                    <a:pt x="689" y="47"/>
                    <a:pt x="689" y="47"/>
                    <a:pt x="689" y="47"/>
                  </a:cubicBezTo>
                  <a:cubicBezTo>
                    <a:pt x="692" y="47"/>
                    <a:pt x="693" y="47"/>
                    <a:pt x="693" y="48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7" y="31"/>
                    <a:pt x="697" y="31"/>
                    <a:pt x="697" y="31"/>
                  </a:cubicBezTo>
                  <a:cubicBezTo>
                    <a:pt x="694" y="31"/>
                    <a:pt x="694" y="31"/>
                    <a:pt x="694" y="31"/>
                  </a:cubicBezTo>
                  <a:cubicBezTo>
                    <a:pt x="693" y="33"/>
                    <a:pt x="692" y="33"/>
                    <a:pt x="689" y="33"/>
                  </a:cubicBezTo>
                  <a:cubicBezTo>
                    <a:pt x="671" y="33"/>
                    <a:pt x="671" y="33"/>
                    <a:pt x="671" y="33"/>
                  </a:cubicBezTo>
                  <a:cubicBezTo>
                    <a:pt x="671" y="15"/>
                    <a:pt x="671" y="15"/>
                    <a:pt x="671" y="15"/>
                  </a:cubicBezTo>
                  <a:cubicBezTo>
                    <a:pt x="701" y="16"/>
                    <a:pt x="701" y="16"/>
                    <a:pt x="701" y="16"/>
                  </a:cubicBezTo>
                  <a:cubicBezTo>
                    <a:pt x="705" y="16"/>
                    <a:pt x="705" y="17"/>
                    <a:pt x="706" y="18"/>
                  </a:cubicBezTo>
                  <a:cubicBezTo>
                    <a:pt x="708" y="19"/>
                    <a:pt x="708" y="19"/>
                    <a:pt x="708" y="19"/>
                  </a:cubicBezTo>
                  <a:cubicBezTo>
                    <a:pt x="709" y="1"/>
                    <a:pt x="709" y="1"/>
                    <a:pt x="709" y="1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705" y="2"/>
                    <a:pt x="705" y="3"/>
                    <a:pt x="701" y="3"/>
                  </a:cubicBezTo>
                  <a:cubicBezTo>
                    <a:pt x="652" y="3"/>
                    <a:pt x="652" y="3"/>
                    <a:pt x="652" y="3"/>
                  </a:cubicBezTo>
                  <a:cubicBezTo>
                    <a:pt x="651" y="5"/>
                    <a:pt x="651" y="5"/>
                    <a:pt x="651" y="5"/>
                  </a:cubicBezTo>
                  <a:cubicBezTo>
                    <a:pt x="656" y="7"/>
                    <a:pt x="656" y="7"/>
                    <a:pt x="656" y="9"/>
                  </a:cubicBezTo>
                  <a:cubicBezTo>
                    <a:pt x="656" y="73"/>
                    <a:pt x="656" y="73"/>
                    <a:pt x="656" y="73"/>
                  </a:cubicBezTo>
                  <a:cubicBezTo>
                    <a:pt x="656" y="75"/>
                    <a:pt x="656" y="75"/>
                    <a:pt x="652" y="76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703" y="79"/>
                    <a:pt x="703" y="79"/>
                    <a:pt x="703" y="79"/>
                  </a:cubicBezTo>
                  <a:cubicBezTo>
                    <a:pt x="707" y="79"/>
                    <a:pt x="707" y="80"/>
                    <a:pt x="708" y="81"/>
                  </a:cubicBezTo>
                  <a:cubicBezTo>
                    <a:pt x="710" y="82"/>
                    <a:pt x="710" y="82"/>
                    <a:pt x="710" y="82"/>
                  </a:cubicBezTo>
                  <a:cubicBezTo>
                    <a:pt x="711" y="64"/>
                    <a:pt x="711" y="64"/>
                    <a:pt x="711" y="64"/>
                  </a:cubicBezTo>
                  <a:cubicBezTo>
                    <a:pt x="708" y="63"/>
                    <a:pt x="708" y="63"/>
                    <a:pt x="708" y="63"/>
                  </a:cubicBezTo>
                  <a:cubicBezTo>
                    <a:pt x="707" y="65"/>
                    <a:pt x="707" y="66"/>
                    <a:pt x="703" y="66"/>
                  </a:cubicBezTo>
                  <a:moveTo>
                    <a:pt x="619" y="35"/>
                  </a:moveTo>
                  <a:cubicBezTo>
                    <a:pt x="617" y="38"/>
                    <a:pt x="614" y="39"/>
                    <a:pt x="610" y="40"/>
                  </a:cubicBezTo>
                  <a:cubicBezTo>
                    <a:pt x="610" y="40"/>
                    <a:pt x="594" y="42"/>
                    <a:pt x="594" y="42"/>
                  </a:cubicBezTo>
                  <a:cubicBezTo>
                    <a:pt x="594" y="42"/>
                    <a:pt x="594" y="42"/>
                    <a:pt x="594" y="41"/>
                  </a:cubicBezTo>
                  <a:cubicBezTo>
                    <a:pt x="594" y="38"/>
                    <a:pt x="592" y="26"/>
                    <a:pt x="592" y="24"/>
                  </a:cubicBezTo>
                  <a:cubicBezTo>
                    <a:pt x="593" y="23"/>
                    <a:pt x="607" y="21"/>
                    <a:pt x="607" y="21"/>
                  </a:cubicBezTo>
                  <a:cubicBezTo>
                    <a:pt x="615" y="20"/>
                    <a:pt x="619" y="23"/>
                    <a:pt x="620" y="29"/>
                  </a:cubicBezTo>
                  <a:lnTo>
                    <a:pt x="619" y="35"/>
                  </a:lnTo>
                  <a:close/>
                  <a:moveTo>
                    <a:pt x="638" y="71"/>
                  </a:moveTo>
                  <a:cubicBezTo>
                    <a:pt x="637" y="68"/>
                    <a:pt x="637" y="68"/>
                    <a:pt x="637" y="68"/>
                  </a:cubicBezTo>
                  <a:cubicBezTo>
                    <a:pt x="637" y="68"/>
                    <a:pt x="623" y="49"/>
                    <a:pt x="623" y="48"/>
                  </a:cubicBezTo>
                  <a:cubicBezTo>
                    <a:pt x="623" y="48"/>
                    <a:pt x="623" y="48"/>
                    <a:pt x="623" y="48"/>
                  </a:cubicBezTo>
                  <a:cubicBezTo>
                    <a:pt x="633" y="45"/>
                    <a:pt x="637" y="37"/>
                    <a:pt x="636" y="25"/>
                  </a:cubicBezTo>
                  <a:cubicBezTo>
                    <a:pt x="634" y="12"/>
                    <a:pt x="623" y="6"/>
                    <a:pt x="607" y="8"/>
                  </a:cubicBezTo>
                  <a:cubicBezTo>
                    <a:pt x="572" y="13"/>
                    <a:pt x="572" y="13"/>
                    <a:pt x="572" y="13"/>
                  </a:cubicBezTo>
                  <a:cubicBezTo>
                    <a:pt x="571" y="14"/>
                    <a:pt x="572" y="16"/>
                    <a:pt x="572" y="16"/>
                  </a:cubicBezTo>
                  <a:cubicBezTo>
                    <a:pt x="575" y="16"/>
                    <a:pt x="575" y="17"/>
                    <a:pt x="575" y="19"/>
                  </a:cubicBezTo>
                  <a:cubicBezTo>
                    <a:pt x="584" y="82"/>
                    <a:pt x="584" y="82"/>
                    <a:pt x="584" y="82"/>
                  </a:cubicBezTo>
                  <a:cubicBezTo>
                    <a:pt x="584" y="84"/>
                    <a:pt x="584" y="84"/>
                    <a:pt x="582" y="85"/>
                  </a:cubicBezTo>
                  <a:cubicBezTo>
                    <a:pt x="582" y="86"/>
                    <a:pt x="582" y="88"/>
                    <a:pt x="582" y="88"/>
                  </a:cubicBezTo>
                  <a:cubicBezTo>
                    <a:pt x="583" y="88"/>
                    <a:pt x="603" y="85"/>
                    <a:pt x="603" y="85"/>
                  </a:cubicBezTo>
                  <a:cubicBezTo>
                    <a:pt x="604" y="85"/>
                    <a:pt x="604" y="85"/>
                    <a:pt x="604" y="85"/>
                  </a:cubicBezTo>
                  <a:cubicBezTo>
                    <a:pt x="604" y="83"/>
                    <a:pt x="604" y="83"/>
                    <a:pt x="604" y="83"/>
                  </a:cubicBezTo>
                  <a:cubicBezTo>
                    <a:pt x="601" y="82"/>
                    <a:pt x="600" y="81"/>
                    <a:pt x="600" y="79"/>
                  </a:cubicBezTo>
                  <a:cubicBezTo>
                    <a:pt x="600" y="79"/>
                    <a:pt x="596" y="55"/>
                    <a:pt x="596" y="54"/>
                  </a:cubicBezTo>
                  <a:cubicBezTo>
                    <a:pt x="597" y="55"/>
                    <a:pt x="608" y="53"/>
                    <a:pt x="608" y="53"/>
                  </a:cubicBezTo>
                  <a:cubicBezTo>
                    <a:pt x="608" y="54"/>
                    <a:pt x="623" y="74"/>
                    <a:pt x="623" y="74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8"/>
                    <a:pt x="625" y="78"/>
                  </a:cubicBezTo>
                  <a:cubicBezTo>
                    <a:pt x="625" y="78"/>
                    <a:pt x="625" y="79"/>
                    <a:pt x="623" y="79"/>
                  </a:cubicBezTo>
                  <a:cubicBezTo>
                    <a:pt x="623" y="80"/>
                    <a:pt x="622" y="80"/>
                    <a:pt x="622" y="81"/>
                  </a:cubicBezTo>
                  <a:cubicBezTo>
                    <a:pt x="622" y="82"/>
                    <a:pt x="623" y="82"/>
                    <a:pt x="623" y="82"/>
                  </a:cubicBezTo>
                  <a:cubicBezTo>
                    <a:pt x="623" y="83"/>
                    <a:pt x="644" y="80"/>
                    <a:pt x="644" y="80"/>
                  </a:cubicBezTo>
                  <a:cubicBezTo>
                    <a:pt x="645" y="79"/>
                    <a:pt x="645" y="77"/>
                    <a:pt x="645" y="77"/>
                  </a:cubicBezTo>
                  <a:cubicBezTo>
                    <a:pt x="642" y="76"/>
                    <a:pt x="641" y="75"/>
                    <a:pt x="638" y="71"/>
                  </a:cubicBezTo>
                  <a:moveTo>
                    <a:pt x="561" y="67"/>
                  </a:moveTo>
                  <a:cubicBezTo>
                    <a:pt x="560" y="67"/>
                    <a:pt x="559" y="68"/>
                    <a:pt x="559" y="68"/>
                  </a:cubicBezTo>
                  <a:cubicBezTo>
                    <a:pt x="558" y="70"/>
                    <a:pt x="560" y="72"/>
                    <a:pt x="560" y="72"/>
                  </a:cubicBezTo>
                  <a:cubicBezTo>
                    <a:pt x="560" y="72"/>
                    <a:pt x="559" y="77"/>
                    <a:pt x="559" y="77"/>
                  </a:cubicBezTo>
                  <a:cubicBezTo>
                    <a:pt x="557" y="80"/>
                    <a:pt x="553" y="84"/>
                    <a:pt x="549" y="85"/>
                  </a:cubicBezTo>
                  <a:cubicBezTo>
                    <a:pt x="544" y="86"/>
                    <a:pt x="538" y="86"/>
                    <a:pt x="534" y="84"/>
                  </a:cubicBezTo>
                  <a:cubicBezTo>
                    <a:pt x="528" y="81"/>
                    <a:pt x="524" y="75"/>
                    <a:pt x="522" y="67"/>
                  </a:cubicBezTo>
                  <a:cubicBezTo>
                    <a:pt x="519" y="58"/>
                    <a:pt x="519" y="50"/>
                    <a:pt x="522" y="45"/>
                  </a:cubicBezTo>
                  <a:cubicBezTo>
                    <a:pt x="524" y="41"/>
                    <a:pt x="528" y="38"/>
                    <a:pt x="534" y="36"/>
                  </a:cubicBezTo>
                  <a:cubicBezTo>
                    <a:pt x="541" y="34"/>
                    <a:pt x="548" y="36"/>
                    <a:pt x="550" y="40"/>
                  </a:cubicBezTo>
                  <a:cubicBezTo>
                    <a:pt x="550" y="41"/>
                    <a:pt x="550" y="41"/>
                    <a:pt x="550" y="41"/>
                  </a:cubicBezTo>
                  <a:cubicBezTo>
                    <a:pt x="551" y="42"/>
                    <a:pt x="551" y="42"/>
                    <a:pt x="551" y="42"/>
                  </a:cubicBezTo>
                  <a:cubicBezTo>
                    <a:pt x="552" y="42"/>
                    <a:pt x="552" y="42"/>
                    <a:pt x="552" y="42"/>
                  </a:cubicBezTo>
                  <a:cubicBezTo>
                    <a:pt x="553" y="42"/>
                    <a:pt x="557" y="23"/>
                    <a:pt x="557" y="23"/>
                  </a:cubicBezTo>
                  <a:cubicBezTo>
                    <a:pt x="557" y="21"/>
                    <a:pt x="557" y="21"/>
                    <a:pt x="557" y="21"/>
                  </a:cubicBezTo>
                  <a:cubicBezTo>
                    <a:pt x="555" y="22"/>
                    <a:pt x="555" y="22"/>
                    <a:pt x="555" y="22"/>
                  </a:cubicBezTo>
                  <a:cubicBezTo>
                    <a:pt x="552" y="24"/>
                    <a:pt x="552" y="24"/>
                    <a:pt x="552" y="24"/>
                  </a:cubicBezTo>
                  <a:cubicBezTo>
                    <a:pt x="552" y="24"/>
                    <a:pt x="549" y="23"/>
                    <a:pt x="549" y="23"/>
                  </a:cubicBezTo>
                  <a:cubicBezTo>
                    <a:pt x="545" y="22"/>
                    <a:pt x="545" y="22"/>
                    <a:pt x="545" y="22"/>
                  </a:cubicBezTo>
                  <a:cubicBezTo>
                    <a:pt x="540" y="21"/>
                    <a:pt x="535" y="21"/>
                    <a:pt x="530" y="23"/>
                  </a:cubicBezTo>
                  <a:cubicBezTo>
                    <a:pt x="513" y="28"/>
                    <a:pt x="499" y="45"/>
                    <a:pt x="507" y="72"/>
                  </a:cubicBezTo>
                  <a:cubicBezTo>
                    <a:pt x="513" y="93"/>
                    <a:pt x="532" y="104"/>
                    <a:pt x="551" y="98"/>
                  </a:cubicBezTo>
                  <a:cubicBezTo>
                    <a:pt x="564" y="94"/>
                    <a:pt x="568" y="88"/>
                    <a:pt x="571" y="84"/>
                  </a:cubicBezTo>
                  <a:cubicBezTo>
                    <a:pt x="573" y="81"/>
                    <a:pt x="573" y="81"/>
                    <a:pt x="573" y="81"/>
                  </a:cubicBezTo>
                  <a:cubicBezTo>
                    <a:pt x="574" y="81"/>
                    <a:pt x="574" y="81"/>
                    <a:pt x="575" y="82"/>
                  </a:cubicBezTo>
                  <a:cubicBezTo>
                    <a:pt x="576" y="81"/>
                    <a:pt x="577" y="80"/>
                    <a:pt x="577" y="80"/>
                  </a:cubicBezTo>
                  <a:cubicBezTo>
                    <a:pt x="577" y="79"/>
                    <a:pt x="561" y="67"/>
                    <a:pt x="561" y="67"/>
                  </a:cubicBezTo>
                  <a:moveTo>
                    <a:pt x="381" y="131"/>
                  </a:moveTo>
                  <a:cubicBezTo>
                    <a:pt x="381" y="131"/>
                    <a:pt x="367" y="139"/>
                    <a:pt x="367" y="140"/>
                  </a:cubicBezTo>
                  <a:cubicBezTo>
                    <a:pt x="367" y="140"/>
                    <a:pt x="367" y="140"/>
                    <a:pt x="367" y="140"/>
                  </a:cubicBezTo>
                  <a:cubicBezTo>
                    <a:pt x="367" y="138"/>
                    <a:pt x="359" y="125"/>
                    <a:pt x="357" y="124"/>
                  </a:cubicBezTo>
                  <a:cubicBezTo>
                    <a:pt x="359" y="123"/>
                    <a:pt x="371" y="115"/>
                    <a:pt x="371" y="115"/>
                  </a:cubicBezTo>
                  <a:cubicBezTo>
                    <a:pt x="377" y="111"/>
                    <a:pt x="382" y="111"/>
                    <a:pt x="385" y="117"/>
                  </a:cubicBezTo>
                  <a:cubicBezTo>
                    <a:pt x="385" y="117"/>
                    <a:pt x="387" y="123"/>
                    <a:pt x="387" y="123"/>
                  </a:cubicBezTo>
                  <a:cubicBezTo>
                    <a:pt x="386" y="126"/>
                    <a:pt x="384" y="128"/>
                    <a:pt x="381" y="131"/>
                  </a:cubicBezTo>
                  <a:moveTo>
                    <a:pt x="419" y="147"/>
                  </a:moveTo>
                  <a:cubicBezTo>
                    <a:pt x="417" y="146"/>
                    <a:pt x="417" y="146"/>
                    <a:pt x="417" y="146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396" y="133"/>
                    <a:pt x="396" y="133"/>
                    <a:pt x="396" y="133"/>
                  </a:cubicBezTo>
                  <a:cubicBezTo>
                    <a:pt x="403" y="126"/>
                    <a:pt x="404" y="117"/>
                    <a:pt x="398" y="107"/>
                  </a:cubicBezTo>
                  <a:cubicBezTo>
                    <a:pt x="391" y="96"/>
                    <a:pt x="378" y="94"/>
                    <a:pt x="365" y="10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4" y="123"/>
                    <a:pt x="336" y="125"/>
                    <a:pt x="336" y="125"/>
                  </a:cubicBezTo>
                  <a:cubicBezTo>
                    <a:pt x="339" y="124"/>
                    <a:pt x="339" y="125"/>
                    <a:pt x="340" y="126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1"/>
                    <a:pt x="376" y="182"/>
                    <a:pt x="374" y="183"/>
                  </a:cubicBezTo>
                  <a:cubicBezTo>
                    <a:pt x="374" y="184"/>
                    <a:pt x="375" y="186"/>
                    <a:pt x="375" y="186"/>
                  </a:cubicBezTo>
                  <a:cubicBezTo>
                    <a:pt x="376" y="186"/>
                    <a:pt x="394" y="175"/>
                    <a:pt x="394" y="175"/>
                  </a:cubicBezTo>
                  <a:cubicBezTo>
                    <a:pt x="395" y="175"/>
                    <a:pt x="395" y="175"/>
                    <a:pt x="395" y="175"/>
                  </a:cubicBezTo>
                  <a:cubicBezTo>
                    <a:pt x="393" y="172"/>
                    <a:pt x="393" y="172"/>
                    <a:pt x="393" y="172"/>
                  </a:cubicBezTo>
                  <a:cubicBezTo>
                    <a:pt x="390" y="173"/>
                    <a:pt x="389" y="173"/>
                    <a:pt x="388" y="171"/>
                  </a:cubicBezTo>
                  <a:cubicBezTo>
                    <a:pt x="388" y="171"/>
                    <a:pt x="375" y="150"/>
                    <a:pt x="374" y="150"/>
                  </a:cubicBezTo>
                  <a:cubicBezTo>
                    <a:pt x="375" y="150"/>
                    <a:pt x="385" y="144"/>
                    <a:pt x="385" y="144"/>
                  </a:cubicBezTo>
                  <a:cubicBezTo>
                    <a:pt x="385" y="144"/>
                    <a:pt x="407" y="157"/>
                    <a:pt x="407" y="157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60"/>
                    <a:pt x="410" y="160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09" y="162"/>
                    <a:pt x="410" y="164"/>
                    <a:pt x="410" y="164"/>
                  </a:cubicBezTo>
                  <a:cubicBezTo>
                    <a:pt x="411" y="164"/>
                    <a:pt x="429" y="153"/>
                    <a:pt x="429" y="153"/>
                  </a:cubicBezTo>
                  <a:cubicBezTo>
                    <a:pt x="429" y="152"/>
                    <a:pt x="428" y="150"/>
                    <a:pt x="428" y="150"/>
                  </a:cubicBezTo>
                  <a:cubicBezTo>
                    <a:pt x="425" y="150"/>
                    <a:pt x="424" y="150"/>
                    <a:pt x="419" y="147"/>
                  </a:cubicBezTo>
                  <a:moveTo>
                    <a:pt x="355" y="181"/>
                  </a:moveTo>
                  <a:cubicBezTo>
                    <a:pt x="355" y="182"/>
                    <a:pt x="355" y="182"/>
                    <a:pt x="355" y="182"/>
                  </a:cubicBezTo>
                  <a:cubicBezTo>
                    <a:pt x="355" y="184"/>
                    <a:pt x="355" y="184"/>
                    <a:pt x="352" y="186"/>
                  </a:cubicBezTo>
                  <a:cubicBezTo>
                    <a:pt x="352" y="186"/>
                    <a:pt x="325" y="204"/>
                    <a:pt x="325" y="204"/>
                  </a:cubicBezTo>
                  <a:cubicBezTo>
                    <a:pt x="325" y="204"/>
                    <a:pt x="325" y="204"/>
                    <a:pt x="325" y="204"/>
                  </a:cubicBezTo>
                  <a:cubicBezTo>
                    <a:pt x="325" y="202"/>
                    <a:pt x="317" y="189"/>
                    <a:pt x="315" y="187"/>
                  </a:cubicBezTo>
                  <a:cubicBezTo>
                    <a:pt x="317" y="187"/>
                    <a:pt x="330" y="178"/>
                    <a:pt x="330" y="178"/>
                  </a:cubicBezTo>
                  <a:cubicBezTo>
                    <a:pt x="333" y="176"/>
                    <a:pt x="333" y="176"/>
                    <a:pt x="334" y="177"/>
                  </a:cubicBezTo>
                  <a:cubicBezTo>
                    <a:pt x="335" y="177"/>
                    <a:pt x="337" y="176"/>
                    <a:pt x="337" y="176"/>
                  </a:cubicBezTo>
                  <a:cubicBezTo>
                    <a:pt x="337" y="175"/>
                    <a:pt x="328" y="161"/>
                    <a:pt x="328" y="161"/>
                  </a:cubicBezTo>
                  <a:cubicBezTo>
                    <a:pt x="327" y="161"/>
                    <a:pt x="325" y="162"/>
                    <a:pt x="325" y="162"/>
                  </a:cubicBezTo>
                  <a:cubicBezTo>
                    <a:pt x="325" y="162"/>
                    <a:pt x="325" y="163"/>
                    <a:pt x="325" y="163"/>
                  </a:cubicBezTo>
                  <a:cubicBezTo>
                    <a:pt x="325" y="164"/>
                    <a:pt x="325" y="165"/>
                    <a:pt x="323" y="166"/>
                  </a:cubicBezTo>
                  <a:cubicBezTo>
                    <a:pt x="323" y="166"/>
                    <a:pt x="307" y="176"/>
                    <a:pt x="307" y="176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7" y="175"/>
                    <a:pt x="298" y="161"/>
                    <a:pt x="298" y="161"/>
                  </a:cubicBezTo>
                  <a:cubicBezTo>
                    <a:pt x="299" y="162"/>
                    <a:pt x="324" y="145"/>
                    <a:pt x="324" y="145"/>
                  </a:cubicBezTo>
                  <a:cubicBezTo>
                    <a:pt x="327" y="144"/>
                    <a:pt x="327" y="144"/>
                    <a:pt x="328" y="145"/>
                  </a:cubicBezTo>
                  <a:cubicBezTo>
                    <a:pt x="329" y="145"/>
                    <a:pt x="331" y="144"/>
                    <a:pt x="331" y="144"/>
                  </a:cubicBezTo>
                  <a:cubicBezTo>
                    <a:pt x="331" y="143"/>
                    <a:pt x="322" y="128"/>
                    <a:pt x="322" y="128"/>
                  </a:cubicBezTo>
                  <a:cubicBezTo>
                    <a:pt x="321" y="128"/>
                    <a:pt x="319" y="129"/>
                    <a:pt x="319" y="129"/>
                  </a:cubicBezTo>
                  <a:cubicBezTo>
                    <a:pt x="320" y="132"/>
                    <a:pt x="320" y="132"/>
                    <a:pt x="317" y="134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5" y="162"/>
                    <a:pt x="276" y="164"/>
                    <a:pt x="276" y="164"/>
                  </a:cubicBezTo>
                  <a:cubicBezTo>
                    <a:pt x="280" y="162"/>
                    <a:pt x="281" y="163"/>
                    <a:pt x="282" y="164"/>
                  </a:cubicBezTo>
                  <a:cubicBezTo>
                    <a:pt x="316" y="218"/>
                    <a:pt x="316" y="218"/>
                    <a:pt x="316" y="218"/>
                  </a:cubicBezTo>
                  <a:cubicBezTo>
                    <a:pt x="317" y="219"/>
                    <a:pt x="317" y="220"/>
                    <a:pt x="315" y="222"/>
                  </a:cubicBezTo>
                  <a:cubicBezTo>
                    <a:pt x="314" y="223"/>
                    <a:pt x="315" y="225"/>
                    <a:pt x="315" y="225"/>
                  </a:cubicBezTo>
                  <a:cubicBezTo>
                    <a:pt x="317" y="225"/>
                    <a:pt x="360" y="197"/>
                    <a:pt x="360" y="197"/>
                  </a:cubicBezTo>
                  <a:cubicBezTo>
                    <a:pt x="363" y="195"/>
                    <a:pt x="363" y="196"/>
                    <a:pt x="364" y="197"/>
                  </a:cubicBezTo>
                  <a:cubicBezTo>
                    <a:pt x="365" y="197"/>
                    <a:pt x="367" y="196"/>
                    <a:pt x="367" y="196"/>
                  </a:cubicBezTo>
                  <a:cubicBezTo>
                    <a:pt x="367" y="195"/>
                    <a:pt x="358" y="180"/>
                    <a:pt x="358" y="180"/>
                  </a:cubicBezTo>
                  <a:cubicBezTo>
                    <a:pt x="357" y="180"/>
                    <a:pt x="355" y="181"/>
                    <a:pt x="355" y="181"/>
                  </a:cubicBezTo>
                  <a:moveTo>
                    <a:pt x="277" y="240"/>
                  </a:moveTo>
                  <a:cubicBezTo>
                    <a:pt x="277" y="240"/>
                    <a:pt x="253" y="188"/>
                    <a:pt x="253" y="188"/>
                  </a:cubicBezTo>
                  <a:cubicBezTo>
                    <a:pt x="253" y="188"/>
                    <a:pt x="268" y="182"/>
                    <a:pt x="268" y="182"/>
                  </a:cubicBezTo>
                  <a:cubicBezTo>
                    <a:pt x="271" y="180"/>
                    <a:pt x="272" y="180"/>
                    <a:pt x="273" y="182"/>
                  </a:cubicBezTo>
                  <a:cubicBezTo>
                    <a:pt x="274" y="183"/>
                    <a:pt x="276" y="182"/>
                    <a:pt x="276" y="182"/>
                  </a:cubicBezTo>
                  <a:cubicBezTo>
                    <a:pt x="276" y="181"/>
                    <a:pt x="269" y="165"/>
                    <a:pt x="269" y="165"/>
                  </a:cubicBezTo>
                  <a:cubicBezTo>
                    <a:pt x="268" y="164"/>
                    <a:pt x="266" y="165"/>
                    <a:pt x="266" y="165"/>
                  </a:cubicBezTo>
                  <a:cubicBezTo>
                    <a:pt x="266" y="168"/>
                    <a:pt x="265" y="168"/>
                    <a:pt x="262" y="16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5" y="191"/>
                    <a:pt x="215" y="191"/>
                    <a:pt x="214" y="189"/>
                  </a:cubicBezTo>
                  <a:cubicBezTo>
                    <a:pt x="213" y="189"/>
                    <a:pt x="211" y="190"/>
                    <a:pt x="211" y="190"/>
                  </a:cubicBezTo>
                  <a:cubicBezTo>
                    <a:pt x="211" y="191"/>
                    <a:pt x="218" y="207"/>
                    <a:pt x="218" y="207"/>
                  </a:cubicBezTo>
                  <a:cubicBezTo>
                    <a:pt x="219" y="208"/>
                    <a:pt x="221" y="207"/>
                    <a:pt x="221" y="207"/>
                  </a:cubicBezTo>
                  <a:cubicBezTo>
                    <a:pt x="221" y="206"/>
                    <a:pt x="221" y="206"/>
                    <a:pt x="221" y="206"/>
                  </a:cubicBezTo>
                  <a:cubicBezTo>
                    <a:pt x="221" y="203"/>
                    <a:pt x="222" y="203"/>
                    <a:pt x="224" y="202"/>
                  </a:cubicBezTo>
                  <a:cubicBezTo>
                    <a:pt x="224" y="202"/>
                    <a:pt x="239" y="195"/>
                    <a:pt x="240" y="195"/>
                  </a:cubicBezTo>
                  <a:cubicBezTo>
                    <a:pt x="240" y="195"/>
                    <a:pt x="240" y="195"/>
                    <a:pt x="240" y="195"/>
                  </a:cubicBezTo>
                  <a:cubicBezTo>
                    <a:pt x="240" y="196"/>
                    <a:pt x="262" y="246"/>
                    <a:pt x="262" y="246"/>
                  </a:cubicBezTo>
                  <a:cubicBezTo>
                    <a:pt x="263" y="247"/>
                    <a:pt x="263" y="248"/>
                    <a:pt x="263" y="248"/>
                  </a:cubicBezTo>
                  <a:cubicBezTo>
                    <a:pt x="263" y="249"/>
                    <a:pt x="262" y="249"/>
                    <a:pt x="261" y="250"/>
                  </a:cubicBezTo>
                  <a:cubicBezTo>
                    <a:pt x="261" y="250"/>
                    <a:pt x="261" y="250"/>
                    <a:pt x="261" y="250"/>
                  </a:cubicBezTo>
                  <a:cubicBezTo>
                    <a:pt x="261" y="251"/>
                    <a:pt x="262" y="253"/>
                    <a:pt x="262" y="253"/>
                  </a:cubicBezTo>
                  <a:cubicBezTo>
                    <a:pt x="263" y="253"/>
                    <a:pt x="282" y="245"/>
                    <a:pt x="282" y="245"/>
                  </a:cubicBezTo>
                  <a:cubicBezTo>
                    <a:pt x="282" y="244"/>
                    <a:pt x="282" y="244"/>
                    <a:pt x="282" y="244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78" y="242"/>
                    <a:pt x="277" y="242"/>
                    <a:pt x="277" y="240"/>
                  </a:cubicBezTo>
                  <a:moveTo>
                    <a:pt x="188" y="227"/>
                  </a:moveTo>
                  <a:cubicBezTo>
                    <a:pt x="179" y="227"/>
                    <a:pt x="171" y="227"/>
                    <a:pt x="170" y="222"/>
                  </a:cubicBezTo>
                  <a:cubicBezTo>
                    <a:pt x="169" y="217"/>
                    <a:pt x="172" y="213"/>
                    <a:pt x="178" y="212"/>
                  </a:cubicBezTo>
                  <a:cubicBezTo>
                    <a:pt x="189" y="209"/>
                    <a:pt x="196" y="213"/>
                    <a:pt x="197" y="216"/>
                  </a:cubicBezTo>
                  <a:cubicBezTo>
                    <a:pt x="197" y="217"/>
                    <a:pt x="197" y="217"/>
                    <a:pt x="197" y="217"/>
                  </a:cubicBezTo>
                  <a:cubicBezTo>
                    <a:pt x="198" y="219"/>
                    <a:pt x="200" y="219"/>
                    <a:pt x="200" y="219"/>
                  </a:cubicBezTo>
                  <a:cubicBezTo>
                    <a:pt x="201" y="218"/>
                    <a:pt x="207" y="199"/>
                    <a:pt x="207" y="199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5" y="198"/>
                    <a:pt x="205" y="198"/>
                    <a:pt x="205" y="198"/>
                  </a:cubicBezTo>
                  <a:cubicBezTo>
                    <a:pt x="202" y="200"/>
                    <a:pt x="202" y="200"/>
                    <a:pt x="202" y="200"/>
                  </a:cubicBezTo>
                  <a:cubicBezTo>
                    <a:pt x="199" y="199"/>
                    <a:pt x="199" y="199"/>
                    <a:pt x="199" y="199"/>
                  </a:cubicBezTo>
                  <a:cubicBezTo>
                    <a:pt x="195" y="199"/>
                    <a:pt x="195" y="199"/>
                    <a:pt x="195" y="199"/>
                  </a:cubicBezTo>
                  <a:cubicBezTo>
                    <a:pt x="189" y="198"/>
                    <a:pt x="183" y="198"/>
                    <a:pt x="177" y="199"/>
                  </a:cubicBezTo>
                  <a:cubicBezTo>
                    <a:pt x="157" y="204"/>
                    <a:pt x="152" y="217"/>
                    <a:pt x="155" y="227"/>
                  </a:cubicBezTo>
                  <a:cubicBezTo>
                    <a:pt x="158" y="242"/>
                    <a:pt x="173" y="242"/>
                    <a:pt x="186" y="243"/>
                  </a:cubicBezTo>
                  <a:cubicBezTo>
                    <a:pt x="196" y="243"/>
                    <a:pt x="204" y="243"/>
                    <a:pt x="205" y="249"/>
                  </a:cubicBezTo>
                  <a:cubicBezTo>
                    <a:pt x="205" y="249"/>
                    <a:pt x="204" y="256"/>
                    <a:pt x="204" y="256"/>
                  </a:cubicBezTo>
                  <a:cubicBezTo>
                    <a:pt x="202" y="259"/>
                    <a:pt x="198" y="261"/>
                    <a:pt x="191" y="262"/>
                  </a:cubicBezTo>
                  <a:cubicBezTo>
                    <a:pt x="185" y="264"/>
                    <a:pt x="176" y="263"/>
                    <a:pt x="172" y="261"/>
                  </a:cubicBezTo>
                  <a:cubicBezTo>
                    <a:pt x="171" y="259"/>
                    <a:pt x="171" y="259"/>
                    <a:pt x="171" y="25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68" y="256"/>
                    <a:pt x="168" y="256"/>
                    <a:pt x="168" y="256"/>
                  </a:cubicBezTo>
                  <a:cubicBezTo>
                    <a:pt x="167" y="257"/>
                    <a:pt x="162" y="276"/>
                    <a:pt x="162" y="276"/>
                  </a:cubicBezTo>
                  <a:cubicBezTo>
                    <a:pt x="162" y="276"/>
                    <a:pt x="163" y="276"/>
                    <a:pt x="163" y="276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6"/>
                    <a:pt x="165" y="276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5"/>
                    <a:pt x="166" y="275"/>
                    <a:pt x="167" y="275"/>
                  </a:cubicBezTo>
                  <a:cubicBezTo>
                    <a:pt x="167" y="275"/>
                    <a:pt x="171" y="275"/>
                    <a:pt x="171" y="275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215" y="271"/>
                    <a:pt x="223" y="256"/>
                    <a:pt x="220" y="245"/>
                  </a:cubicBezTo>
                  <a:cubicBezTo>
                    <a:pt x="217" y="228"/>
                    <a:pt x="201" y="228"/>
                    <a:pt x="188" y="227"/>
                  </a:cubicBezTo>
                  <a:moveTo>
                    <a:pt x="121" y="265"/>
                  </a:moveTo>
                  <a:cubicBezTo>
                    <a:pt x="117" y="268"/>
                    <a:pt x="113" y="270"/>
                    <a:pt x="108" y="270"/>
                  </a:cubicBezTo>
                  <a:cubicBezTo>
                    <a:pt x="96" y="269"/>
                    <a:pt x="89" y="260"/>
                    <a:pt x="90" y="243"/>
                  </a:cubicBezTo>
                  <a:cubicBezTo>
                    <a:pt x="90" y="234"/>
                    <a:pt x="92" y="227"/>
                    <a:pt x="97" y="223"/>
                  </a:cubicBezTo>
                  <a:cubicBezTo>
                    <a:pt x="100" y="220"/>
                    <a:pt x="104" y="218"/>
                    <a:pt x="109" y="219"/>
                  </a:cubicBezTo>
                  <a:cubicBezTo>
                    <a:pt x="115" y="219"/>
                    <a:pt x="119" y="220"/>
                    <a:pt x="122" y="224"/>
                  </a:cubicBezTo>
                  <a:cubicBezTo>
                    <a:pt x="126" y="228"/>
                    <a:pt x="128" y="235"/>
                    <a:pt x="128" y="245"/>
                  </a:cubicBezTo>
                  <a:cubicBezTo>
                    <a:pt x="128" y="254"/>
                    <a:pt x="125" y="261"/>
                    <a:pt x="121" y="265"/>
                  </a:cubicBezTo>
                  <a:moveTo>
                    <a:pt x="110" y="205"/>
                  </a:moveTo>
                  <a:cubicBezTo>
                    <a:pt x="100" y="205"/>
                    <a:pt x="92" y="208"/>
                    <a:pt x="86" y="214"/>
                  </a:cubicBezTo>
                  <a:cubicBezTo>
                    <a:pt x="78" y="220"/>
                    <a:pt x="74" y="231"/>
                    <a:pt x="74" y="243"/>
                  </a:cubicBezTo>
                  <a:cubicBezTo>
                    <a:pt x="73" y="266"/>
                    <a:pt x="87" y="282"/>
                    <a:pt x="107" y="283"/>
                  </a:cubicBezTo>
                  <a:cubicBezTo>
                    <a:pt x="117" y="283"/>
                    <a:pt x="125" y="280"/>
                    <a:pt x="132" y="274"/>
                  </a:cubicBezTo>
                  <a:cubicBezTo>
                    <a:pt x="139" y="268"/>
                    <a:pt x="143" y="257"/>
                    <a:pt x="144" y="245"/>
                  </a:cubicBezTo>
                  <a:cubicBezTo>
                    <a:pt x="144" y="233"/>
                    <a:pt x="140" y="222"/>
                    <a:pt x="134" y="215"/>
                  </a:cubicBezTo>
                  <a:cubicBezTo>
                    <a:pt x="128" y="209"/>
                    <a:pt x="119" y="205"/>
                    <a:pt x="110" y="205"/>
                  </a:cubicBezTo>
                  <a:moveTo>
                    <a:pt x="38" y="228"/>
                  </a:moveTo>
                  <a:cubicBezTo>
                    <a:pt x="38" y="228"/>
                    <a:pt x="25" y="227"/>
                    <a:pt x="25" y="227"/>
                  </a:cubicBezTo>
                  <a:cubicBezTo>
                    <a:pt x="26" y="226"/>
                    <a:pt x="28" y="211"/>
                    <a:pt x="28" y="208"/>
                  </a:cubicBezTo>
                  <a:cubicBezTo>
                    <a:pt x="30" y="209"/>
                    <a:pt x="41" y="210"/>
                    <a:pt x="41" y="210"/>
                  </a:cubicBezTo>
                  <a:cubicBezTo>
                    <a:pt x="47" y="211"/>
                    <a:pt x="50" y="213"/>
                    <a:pt x="52" y="215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2" y="228"/>
                    <a:pt x="48" y="230"/>
                    <a:pt x="38" y="228"/>
                  </a:cubicBezTo>
                  <a:moveTo>
                    <a:pt x="45" y="197"/>
                  </a:moveTo>
                  <a:cubicBezTo>
                    <a:pt x="12" y="192"/>
                    <a:pt x="12" y="192"/>
                    <a:pt x="12" y="192"/>
                  </a:cubicBezTo>
                  <a:cubicBezTo>
                    <a:pt x="11" y="193"/>
                    <a:pt x="11" y="195"/>
                    <a:pt x="11" y="195"/>
                  </a:cubicBezTo>
                  <a:cubicBezTo>
                    <a:pt x="14" y="197"/>
                    <a:pt x="14" y="197"/>
                    <a:pt x="14" y="199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4" y="264"/>
                    <a:pt x="4" y="264"/>
                    <a:pt x="1" y="264"/>
                  </a:cubicBezTo>
                  <a:cubicBezTo>
                    <a:pt x="0" y="265"/>
                    <a:pt x="0" y="267"/>
                    <a:pt x="0" y="267"/>
                  </a:cubicBezTo>
                  <a:cubicBezTo>
                    <a:pt x="1" y="268"/>
                    <a:pt x="22" y="271"/>
                    <a:pt x="22" y="271"/>
                  </a:cubicBezTo>
                  <a:cubicBezTo>
                    <a:pt x="23" y="271"/>
                    <a:pt x="23" y="271"/>
                    <a:pt x="23" y="271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1" y="267"/>
                    <a:pt x="20" y="267"/>
                    <a:pt x="20" y="265"/>
                  </a:cubicBezTo>
                  <a:cubicBezTo>
                    <a:pt x="20" y="265"/>
                    <a:pt x="20" y="265"/>
                    <a:pt x="20" y="264"/>
                  </a:cubicBezTo>
                  <a:cubicBezTo>
                    <a:pt x="20" y="264"/>
                    <a:pt x="24" y="240"/>
                    <a:pt x="24" y="239"/>
                  </a:cubicBezTo>
                  <a:cubicBezTo>
                    <a:pt x="24" y="240"/>
                    <a:pt x="39" y="242"/>
                    <a:pt x="39" y="242"/>
                  </a:cubicBezTo>
                  <a:cubicBezTo>
                    <a:pt x="58" y="245"/>
                    <a:pt x="67" y="235"/>
                    <a:pt x="68" y="224"/>
                  </a:cubicBezTo>
                  <a:cubicBezTo>
                    <a:pt x="70" y="213"/>
                    <a:pt x="65" y="200"/>
                    <a:pt x="45" y="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0" name="Freeform 40">
              <a:extLst>
                <a:ext uri="{FF2B5EF4-FFF2-40B4-BE49-F238E27FC236}">
                  <a16:creationId xmlns:a16="http://schemas.microsoft.com/office/drawing/2014/main" id="{85287241-1AD5-4DDC-AC91-DBE21A8FDB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7" y="1746"/>
              <a:ext cx="70" cy="69"/>
            </a:xfrm>
            <a:custGeom>
              <a:avLst/>
              <a:gdLst>
                <a:gd name="T0" fmla="*/ 39 w 104"/>
                <a:gd name="T1" fmla="*/ 28 h 101"/>
                <a:gd name="T2" fmla="*/ 12 w 104"/>
                <a:gd name="T3" fmla="*/ 18 h 101"/>
                <a:gd name="T4" fmla="*/ 26 w 104"/>
                <a:gd name="T5" fmla="*/ 46 h 101"/>
                <a:gd name="T6" fmla="*/ 0 w 104"/>
                <a:gd name="T7" fmla="*/ 64 h 101"/>
                <a:gd name="T8" fmla="*/ 29 w 104"/>
                <a:gd name="T9" fmla="*/ 71 h 101"/>
                <a:gd name="T10" fmla="*/ 27 w 104"/>
                <a:gd name="T11" fmla="*/ 101 h 101"/>
                <a:gd name="T12" fmla="*/ 52 w 104"/>
                <a:gd name="T13" fmla="*/ 81 h 101"/>
                <a:gd name="T14" fmla="*/ 74 w 104"/>
                <a:gd name="T15" fmla="*/ 101 h 101"/>
                <a:gd name="T16" fmla="*/ 73 w 104"/>
                <a:gd name="T17" fmla="*/ 69 h 101"/>
                <a:gd name="T18" fmla="*/ 104 w 104"/>
                <a:gd name="T19" fmla="*/ 67 h 101"/>
                <a:gd name="T20" fmla="*/ 78 w 104"/>
                <a:gd name="T21" fmla="*/ 47 h 101"/>
                <a:gd name="T22" fmla="*/ 93 w 104"/>
                <a:gd name="T23" fmla="*/ 20 h 101"/>
                <a:gd name="T24" fmla="*/ 63 w 104"/>
                <a:gd name="T25" fmla="*/ 29 h 101"/>
                <a:gd name="T26" fmla="*/ 51 w 104"/>
                <a:gd name="T27" fmla="*/ 0 h 101"/>
                <a:gd name="T28" fmla="*/ 39 w 104"/>
                <a:gd name="T29" fmla="*/ 2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39" y="28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104" y="67"/>
                    <a:pt x="104" y="6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3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1" name="Freeform 41">
              <a:extLst>
                <a:ext uri="{FF2B5EF4-FFF2-40B4-BE49-F238E27FC236}">
                  <a16:creationId xmlns:a16="http://schemas.microsoft.com/office/drawing/2014/main" id="{568DBE16-BF90-4235-BA4D-452AACAE0A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8" y="1778"/>
              <a:ext cx="70" cy="69"/>
            </a:xfrm>
            <a:custGeom>
              <a:avLst/>
              <a:gdLst>
                <a:gd name="T0" fmla="*/ 26 w 70"/>
                <a:gd name="T1" fmla="*/ 19 h 69"/>
                <a:gd name="T2" fmla="*/ 8 w 70"/>
                <a:gd name="T3" fmla="*/ 13 h 69"/>
                <a:gd name="T4" fmla="*/ 17 w 70"/>
                <a:gd name="T5" fmla="*/ 31 h 69"/>
                <a:gd name="T6" fmla="*/ 0 w 70"/>
                <a:gd name="T7" fmla="*/ 43 h 69"/>
                <a:gd name="T8" fmla="*/ 20 w 70"/>
                <a:gd name="T9" fmla="*/ 48 h 69"/>
                <a:gd name="T10" fmla="*/ 18 w 70"/>
                <a:gd name="T11" fmla="*/ 69 h 69"/>
                <a:gd name="T12" fmla="*/ 34 w 70"/>
                <a:gd name="T13" fmla="*/ 55 h 69"/>
                <a:gd name="T14" fmla="*/ 51 w 70"/>
                <a:gd name="T15" fmla="*/ 69 h 69"/>
                <a:gd name="T16" fmla="*/ 49 w 70"/>
                <a:gd name="T17" fmla="*/ 47 h 69"/>
                <a:gd name="T18" fmla="*/ 70 w 70"/>
                <a:gd name="T19" fmla="*/ 45 h 69"/>
                <a:gd name="T20" fmla="*/ 53 w 70"/>
                <a:gd name="T21" fmla="*/ 32 h 69"/>
                <a:gd name="T22" fmla="*/ 63 w 70"/>
                <a:gd name="T23" fmla="*/ 13 h 69"/>
                <a:gd name="T24" fmla="*/ 43 w 70"/>
                <a:gd name="T25" fmla="*/ 19 h 69"/>
                <a:gd name="T26" fmla="*/ 34 w 70"/>
                <a:gd name="T27" fmla="*/ 0 h 69"/>
                <a:gd name="T28" fmla="*/ 26 w 70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9">
                  <a:moveTo>
                    <a:pt x="26" y="19"/>
                  </a:moveTo>
                  <a:lnTo>
                    <a:pt x="8" y="13"/>
                  </a:lnTo>
                  <a:lnTo>
                    <a:pt x="17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4" y="55"/>
                  </a:lnTo>
                  <a:lnTo>
                    <a:pt x="51" y="69"/>
                  </a:lnTo>
                  <a:lnTo>
                    <a:pt x="49" y="47"/>
                  </a:lnTo>
                  <a:lnTo>
                    <a:pt x="70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3" y="19"/>
                  </a:lnTo>
                  <a:lnTo>
                    <a:pt x="34" y="0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2" name="Freeform 42">
              <a:extLst>
                <a:ext uri="{FF2B5EF4-FFF2-40B4-BE49-F238E27FC236}">
                  <a16:creationId xmlns:a16="http://schemas.microsoft.com/office/drawing/2014/main" id="{667C2727-3F47-4296-873A-DD43026F14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1902"/>
              <a:ext cx="71" cy="69"/>
            </a:xfrm>
            <a:custGeom>
              <a:avLst/>
              <a:gdLst>
                <a:gd name="T0" fmla="*/ 51 w 104"/>
                <a:gd name="T1" fmla="*/ 0 h 101"/>
                <a:gd name="T2" fmla="*/ 62 w 104"/>
                <a:gd name="T3" fmla="*/ 28 h 101"/>
                <a:gd name="T4" fmla="*/ 93 w 104"/>
                <a:gd name="T5" fmla="*/ 20 h 101"/>
                <a:gd name="T6" fmla="*/ 78 w 104"/>
                <a:gd name="T7" fmla="*/ 46 h 101"/>
                <a:gd name="T8" fmla="*/ 104 w 104"/>
                <a:gd name="T9" fmla="*/ 66 h 101"/>
                <a:gd name="T10" fmla="*/ 72 w 104"/>
                <a:gd name="T11" fmla="*/ 69 h 101"/>
                <a:gd name="T12" fmla="*/ 74 w 104"/>
                <a:gd name="T13" fmla="*/ 101 h 101"/>
                <a:gd name="T14" fmla="*/ 51 w 104"/>
                <a:gd name="T15" fmla="*/ 80 h 101"/>
                <a:gd name="T16" fmla="*/ 27 w 104"/>
                <a:gd name="T17" fmla="*/ 101 h 101"/>
                <a:gd name="T18" fmla="*/ 29 w 104"/>
                <a:gd name="T19" fmla="*/ 70 h 101"/>
                <a:gd name="T20" fmla="*/ 0 w 104"/>
                <a:gd name="T21" fmla="*/ 64 h 101"/>
                <a:gd name="T22" fmla="*/ 26 w 104"/>
                <a:gd name="T23" fmla="*/ 45 h 101"/>
                <a:gd name="T24" fmla="*/ 11 w 104"/>
                <a:gd name="T25" fmla="*/ 19 h 101"/>
                <a:gd name="T26" fmla="*/ 39 w 104"/>
                <a:gd name="T27" fmla="*/ 28 h 101"/>
                <a:gd name="T28" fmla="*/ 51 w 104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1">
                  <a:moveTo>
                    <a:pt x="51" y="0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72" y="69"/>
                    <a:pt x="72" y="69"/>
                  </a:cubicBezTo>
                  <a:cubicBezTo>
                    <a:pt x="74" y="101"/>
                    <a:pt x="74" y="101"/>
                    <a:pt x="74" y="10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39" y="28"/>
                    <a:pt x="39" y="28"/>
                    <a:pt x="39" y="28"/>
                  </a:cubicBez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3" name="Freeform 43">
              <a:extLst>
                <a:ext uri="{FF2B5EF4-FFF2-40B4-BE49-F238E27FC236}">
                  <a16:creationId xmlns:a16="http://schemas.microsoft.com/office/drawing/2014/main" id="{3009BB0C-F2E7-408B-AE22-9B987D7F42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7" y="1911"/>
              <a:ext cx="50" cy="48"/>
            </a:xfrm>
            <a:custGeom>
              <a:avLst/>
              <a:gdLst>
                <a:gd name="T0" fmla="*/ 25 w 50"/>
                <a:gd name="T1" fmla="*/ 0 h 48"/>
                <a:gd name="T2" fmla="*/ 32 w 50"/>
                <a:gd name="T3" fmla="*/ 18 h 48"/>
                <a:gd name="T4" fmla="*/ 50 w 50"/>
                <a:gd name="T5" fmla="*/ 18 h 48"/>
                <a:gd name="T6" fmla="*/ 35 w 50"/>
                <a:gd name="T7" fmla="*/ 30 h 48"/>
                <a:gd name="T8" fmla="*/ 40 w 50"/>
                <a:gd name="T9" fmla="*/ 48 h 48"/>
                <a:gd name="T10" fmla="*/ 25 w 50"/>
                <a:gd name="T11" fmla="*/ 37 h 48"/>
                <a:gd name="T12" fmla="*/ 10 w 50"/>
                <a:gd name="T13" fmla="*/ 48 h 48"/>
                <a:gd name="T14" fmla="*/ 15 w 50"/>
                <a:gd name="T15" fmla="*/ 30 h 48"/>
                <a:gd name="T16" fmla="*/ 0 w 50"/>
                <a:gd name="T17" fmla="*/ 18 h 48"/>
                <a:gd name="T18" fmla="*/ 19 w 50"/>
                <a:gd name="T19" fmla="*/ 18 h 48"/>
                <a:gd name="T20" fmla="*/ 25 w 50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8">
                  <a:moveTo>
                    <a:pt x="25" y="0"/>
                  </a:moveTo>
                  <a:lnTo>
                    <a:pt x="32" y="18"/>
                  </a:lnTo>
                  <a:lnTo>
                    <a:pt x="50" y="18"/>
                  </a:lnTo>
                  <a:lnTo>
                    <a:pt x="35" y="30"/>
                  </a:lnTo>
                  <a:lnTo>
                    <a:pt x="40" y="48"/>
                  </a:lnTo>
                  <a:lnTo>
                    <a:pt x="25" y="37"/>
                  </a:lnTo>
                  <a:lnTo>
                    <a:pt x="10" y="48"/>
                  </a:lnTo>
                  <a:lnTo>
                    <a:pt x="15" y="30"/>
                  </a:lnTo>
                  <a:lnTo>
                    <a:pt x="0" y="18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4" name="Freeform 44">
              <a:extLst>
                <a:ext uri="{FF2B5EF4-FFF2-40B4-BE49-F238E27FC236}">
                  <a16:creationId xmlns:a16="http://schemas.microsoft.com/office/drawing/2014/main" id="{DF8F7F38-CD25-4813-A605-C3200041ED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7" y="2037"/>
              <a:ext cx="71" cy="69"/>
            </a:xfrm>
            <a:custGeom>
              <a:avLst/>
              <a:gdLst>
                <a:gd name="T0" fmla="*/ 27 w 71"/>
                <a:gd name="T1" fmla="*/ 19 h 69"/>
                <a:gd name="T2" fmla="*/ 8 w 71"/>
                <a:gd name="T3" fmla="*/ 13 h 69"/>
                <a:gd name="T4" fmla="*/ 18 w 71"/>
                <a:gd name="T5" fmla="*/ 31 h 69"/>
                <a:gd name="T6" fmla="*/ 0 w 71"/>
                <a:gd name="T7" fmla="*/ 43 h 69"/>
                <a:gd name="T8" fmla="*/ 20 w 71"/>
                <a:gd name="T9" fmla="*/ 48 h 69"/>
                <a:gd name="T10" fmla="*/ 18 w 71"/>
                <a:gd name="T11" fmla="*/ 69 h 69"/>
                <a:gd name="T12" fmla="*/ 35 w 71"/>
                <a:gd name="T13" fmla="*/ 55 h 69"/>
                <a:gd name="T14" fmla="*/ 50 w 71"/>
                <a:gd name="T15" fmla="*/ 69 h 69"/>
                <a:gd name="T16" fmla="*/ 49 w 71"/>
                <a:gd name="T17" fmla="*/ 48 h 69"/>
                <a:gd name="T18" fmla="*/ 71 w 71"/>
                <a:gd name="T19" fmla="*/ 45 h 69"/>
                <a:gd name="T20" fmla="*/ 53 w 71"/>
                <a:gd name="T21" fmla="*/ 32 h 69"/>
                <a:gd name="T22" fmla="*/ 63 w 71"/>
                <a:gd name="T23" fmla="*/ 13 h 69"/>
                <a:gd name="T24" fmla="*/ 42 w 71"/>
                <a:gd name="T25" fmla="*/ 19 h 69"/>
                <a:gd name="T26" fmla="*/ 35 w 71"/>
                <a:gd name="T27" fmla="*/ 0 h 69"/>
                <a:gd name="T28" fmla="*/ 27 w 71"/>
                <a:gd name="T29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69">
                  <a:moveTo>
                    <a:pt x="27" y="19"/>
                  </a:moveTo>
                  <a:lnTo>
                    <a:pt x="8" y="13"/>
                  </a:lnTo>
                  <a:lnTo>
                    <a:pt x="18" y="31"/>
                  </a:lnTo>
                  <a:lnTo>
                    <a:pt x="0" y="43"/>
                  </a:lnTo>
                  <a:lnTo>
                    <a:pt x="20" y="48"/>
                  </a:lnTo>
                  <a:lnTo>
                    <a:pt x="18" y="69"/>
                  </a:lnTo>
                  <a:lnTo>
                    <a:pt x="35" y="55"/>
                  </a:lnTo>
                  <a:lnTo>
                    <a:pt x="50" y="69"/>
                  </a:lnTo>
                  <a:lnTo>
                    <a:pt x="49" y="48"/>
                  </a:lnTo>
                  <a:lnTo>
                    <a:pt x="71" y="45"/>
                  </a:lnTo>
                  <a:lnTo>
                    <a:pt x="53" y="32"/>
                  </a:lnTo>
                  <a:lnTo>
                    <a:pt x="63" y="13"/>
                  </a:lnTo>
                  <a:lnTo>
                    <a:pt x="42" y="19"/>
                  </a:lnTo>
                  <a:lnTo>
                    <a:pt x="35" y="0"/>
                  </a:lnTo>
                  <a:lnTo>
                    <a:pt x="2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5" name="Freeform 45">
              <a:extLst>
                <a:ext uri="{FF2B5EF4-FFF2-40B4-BE49-F238E27FC236}">
                  <a16:creationId xmlns:a16="http://schemas.microsoft.com/office/drawing/2014/main" id="{7F75866D-1EBA-4945-8B52-8AF1E0B4E1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9" y="1671"/>
              <a:ext cx="20" cy="12"/>
            </a:xfrm>
            <a:custGeom>
              <a:avLst/>
              <a:gdLst>
                <a:gd name="T0" fmla="*/ 28 w 30"/>
                <a:gd name="T1" fmla="*/ 0 h 18"/>
                <a:gd name="T2" fmla="*/ 0 w 30"/>
                <a:gd name="T3" fmla="*/ 18 h 18"/>
                <a:gd name="T4" fmla="*/ 29 w 30"/>
                <a:gd name="T5" fmla="*/ 9 h 18"/>
                <a:gd name="T6" fmla="*/ 28 w 3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8">
                  <a:moveTo>
                    <a:pt x="28" y="0"/>
                  </a:moveTo>
                  <a:cubicBezTo>
                    <a:pt x="19" y="0"/>
                    <a:pt x="5" y="13"/>
                    <a:pt x="0" y="18"/>
                  </a:cubicBezTo>
                  <a:cubicBezTo>
                    <a:pt x="18" y="11"/>
                    <a:pt x="25" y="15"/>
                    <a:pt x="29" y="9"/>
                  </a:cubicBezTo>
                  <a:cubicBezTo>
                    <a:pt x="30" y="6"/>
                    <a:pt x="30" y="2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6" name="Freeform 46">
              <a:extLst>
                <a:ext uri="{FF2B5EF4-FFF2-40B4-BE49-F238E27FC236}">
                  <a16:creationId xmlns:a16="http://schemas.microsoft.com/office/drawing/2014/main" id="{E1A05D3F-74B5-4BD4-BF0C-A3719F76D8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64" y="1674"/>
              <a:ext cx="12" cy="20"/>
            </a:xfrm>
            <a:custGeom>
              <a:avLst/>
              <a:gdLst>
                <a:gd name="T0" fmla="*/ 2 w 18"/>
                <a:gd name="T1" fmla="*/ 0 h 29"/>
                <a:gd name="T2" fmla="*/ 17 w 18"/>
                <a:gd name="T3" fmla="*/ 29 h 29"/>
                <a:gd name="T4" fmla="*/ 18 w 18"/>
                <a:gd name="T5" fmla="*/ 20 h 29"/>
                <a:gd name="T6" fmla="*/ 2 w 1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9">
                  <a:moveTo>
                    <a:pt x="2" y="0"/>
                  </a:moveTo>
                  <a:cubicBezTo>
                    <a:pt x="0" y="12"/>
                    <a:pt x="8" y="23"/>
                    <a:pt x="17" y="2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12"/>
                    <a:pt x="9" y="4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7" name="Freeform 47">
              <a:extLst>
                <a:ext uri="{FF2B5EF4-FFF2-40B4-BE49-F238E27FC236}">
                  <a16:creationId xmlns:a16="http://schemas.microsoft.com/office/drawing/2014/main" id="{950CBACA-6FA2-4543-B3B1-A05D47C15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9" y="1689"/>
              <a:ext cx="14" cy="21"/>
            </a:xfrm>
            <a:custGeom>
              <a:avLst/>
              <a:gdLst>
                <a:gd name="T0" fmla="*/ 4 w 21"/>
                <a:gd name="T1" fmla="*/ 0 h 30"/>
                <a:gd name="T2" fmla="*/ 1 w 21"/>
                <a:gd name="T3" fmla="*/ 11 h 30"/>
                <a:gd name="T4" fmla="*/ 16 w 21"/>
                <a:gd name="T5" fmla="*/ 30 h 30"/>
                <a:gd name="T6" fmla="*/ 4 w 21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4" y="0"/>
                  </a:moveTo>
                  <a:cubicBezTo>
                    <a:pt x="3" y="3"/>
                    <a:pt x="0" y="8"/>
                    <a:pt x="1" y="11"/>
                  </a:cubicBezTo>
                  <a:cubicBezTo>
                    <a:pt x="2" y="18"/>
                    <a:pt x="12" y="20"/>
                    <a:pt x="16" y="30"/>
                  </a:cubicBezTo>
                  <a:cubicBezTo>
                    <a:pt x="21" y="21"/>
                    <a:pt x="14" y="3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8" name="Freeform 48">
              <a:extLst>
                <a:ext uri="{FF2B5EF4-FFF2-40B4-BE49-F238E27FC236}">
                  <a16:creationId xmlns:a16="http://schemas.microsoft.com/office/drawing/2014/main" id="{C262FBD3-F17E-483D-A95B-75DF71BC38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9" y="1702"/>
              <a:ext cx="15" cy="24"/>
            </a:xfrm>
            <a:custGeom>
              <a:avLst/>
              <a:gdLst>
                <a:gd name="T0" fmla="*/ 12 w 22"/>
                <a:gd name="T1" fmla="*/ 0 h 35"/>
                <a:gd name="T2" fmla="*/ 7 w 22"/>
                <a:gd name="T3" fmla="*/ 8 h 35"/>
                <a:gd name="T4" fmla="*/ 13 w 22"/>
                <a:gd name="T5" fmla="*/ 35 h 35"/>
                <a:gd name="T6" fmla="*/ 19 w 22"/>
                <a:gd name="T7" fmla="*/ 11 h 35"/>
                <a:gd name="T8" fmla="*/ 12 w 2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5">
                  <a:moveTo>
                    <a:pt x="12" y="0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0" y="19"/>
                    <a:pt x="13" y="28"/>
                    <a:pt x="13" y="35"/>
                  </a:cubicBezTo>
                  <a:cubicBezTo>
                    <a:pt x="17" y="31"/>
                    <a:pt x="22" y="19"/>
                    <a:pt x="19" y="11"/>
                  </a:cubicBezTo>
                  <a:cubicBezTo>
                    <a:pt x="18" y="7"/>
                    <a:pt x="16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29" name="Freeform 49">
              <a:extLst>
                <a:ext uri="{FF2B5EF4-FFF2-40B4-BE49-F238E27FC236}">
                  <a16:creationId xmlns:a16="http://schemas.microsoft.com/office/drawing/2014/main" id="{32A4BB2E-167D-4343-96D4-C71DFBCCD6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22" y="1701"/>
              <a:ext cx="27" cy="11"/>
            </a:xfrm>
            <a:custGeom>
              <a:avLst/>
              <a:gdLst>
                <a:gd name="T0" fmla="*/ 23 w 39"/>
                <a:gd name="T1" fmla="*/ 3 h 16"/>
                <a:gd name="T2" fmla="*/ 0 w 39"/>
                <a:gd name="T3" fmla="*/ 12 h 16"/>
                <a:gd name="T4" fmla="*/ 21 w 39"/>
                <a:gd name="T5" fmla="*/ 16 h 16"/>
                <a:gd name="T6" fmla="*/ 39 w 39"/>
                <a:gd name="T7" fmla="*/ 0 h 16"/>
                <a:gd name="T8" fmla="*/ 23 w 3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6">
                  <a:moveTo>
                    <a:pt x="23" y="3"/>
                  </a:moveTo>
                  <a:cubicBezTo>
                    <a:pt x="18" y="5"/>
                    <a:pt x="6" y="13"/>
                    <a:pt x="0" y="12"/>
                  </a:cubicBezTo>
                  <a:cubicBezTo>
                    <a:pt x="3" y="16"/>
                    <a:pt x="16" y="15"/>
                    <a:pt x="21" y="16"/>
                  </a:cubicBezTo>
                  <a:cubicBezTo>
                    <a:pt x="29" y="16"/>
                    <a:pt x="35" y="7"/>
                    <a:pt x="39" y="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0" name="Freeform 50">
              <a:extLst>
                <a:ext uri="{FF2B5EF4-FFF2-40B4-BE49-F238E27FC236}">
                  <a16:creationId xmlns:a16="http://schemas.microsoft.com/office/drawing/2014/main" id="{C354B20D-5E83-4422-AA23-DA1D38AADC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4" y="1717"/>
              <a:ext cx="16" cy="23"/>
            </a:xfrm>
            <a:custGeom>
              <a:avLst/>
              <a:gdLst>
                <a:gd name="T0" fmla="*/ 19 w 23"/>
                <a:gd name="T1" fmla="*/ 0 h 34"/>
                <a:gd name="T2" fmla="*/ 0 w 23"/>
                <a:gd name="T3" fmla="*/ 34 h 34"/>
                <a:gd name="T4" fmla="*/ 19 w 23"/>
                <a:gd name="T5" fmla="*/ 21 h 34"/>
                <a:gd name="T6" fmla="*/ 19 w 2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4">
                  <a:moveTo>
                    <a:pt x="19" y="0"/>
                  </a:moveTo>
                  <a:cubicBezTo>
                    <a:pt x="3" y="4"/>
                    <a:pt x="13" y="23"/>
                    <a:pt x="0" y="34"/>
                  </a:cubicBezTo>
                  <a:cubicBezTo>
                    <a:pt x="9" y="32"/>
                    <a:pt x="13" y="32"/>
                    <a:pt x="19" y="21"/>
                  </a:cubicBezTo>
                  <a:cubicBezTo>
                    <a:pt x="22" y="15"/>
                    <a:pt x="23" y="5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1" name="Freeform 51">
              <a:extLst>
                <a:ext uri="{FF2B5EF4-FFF2-40B4-BE49-F238E27FC236}">
                  <a16:creationId xmlns:a16="http://schemas.microsoft.com/office/drawing/2014/main" id="{57981494-DC82-4EC8-990A-7DA7D61F8F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82"/>
              <a:ext cx="18" cy="26"/>
            </a:xfrm>
            <a:custGeom>
              <a:avLst/>
              <a:gdLst>
                <a:gd name="T0" fmla="*/ 3 w 26"/>
                <a:gd name="T1" fmla="*/ 16 h 39"/>
                <a:gd name="T2" fmla="*/ 9 w 26"/>
                <a:gd name="T3" fmla="*/ 39 h 39"/>
                <a:gd name="T4" fmla="*/ 17 w 26"/>
                <a:gd name="T5" fmla="*/ 0 h 39"/>
                <a:gd name="T6" fmla="*/ 3 w 26"/>
                <a:gd name="T7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9">
                  <a:moveTo>
                    <a:pt x="3" y="16"/>
                  </a:moveTo>
                  <a:cubicBezTo>
                    <a:pt x="0" y="28"/>
                    <a:pt x="3" y="31"/>
                    <a:pt x="9" y="39"/>
                  </a:cubicBezTo>
                  <a:cubicBezTo>
                    <a:pt x="6" y="21"/>
                    <a:pt x="26" y="14"/>
                    <a:pt x="17" y="0"/>
                  </a:cubicBezTo>
                  <a:cubicBezTo>
                    <a:pt x="10" y="2"/>
                    <a:pt x="5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2" name="Freeform 52">
              <a:extLst>
                <a:ext uri="{FF2B5EF4-FFF2-40B4-BE49-F238E27FC236}">
                  <a16:creationId xmlns:a16="http://schemas.microsoft.com/office/drawing/2014/main" id="{822CEB55-5A58-4B49-AD8A-1B30A5F6E0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8" y="1714"/>
              <a:ext cx="27" cy="14"/>
            </a:xfrm>
            <a:custGeom>
              <a:avLst/>
              <a:gdLst>
                <a:gd name="T0" fmla="*/ 0 w 40"/>
                <a:gd name="T1" fmla="*/ 17 h 21"/>
                <a:gd name="T2" fmla="*/ 23 w 40"/>
                <a:gd name="T3" fmla="*/ 17 h 21"/>
                <a:gd name="T4" fmla="*/ 40 w 40"/>
                <a:gd name="T5" fmla="*/ 7 h 21"/>
                <a:gd name="T6" fmla="*/ 0 w 40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1">
                  <a:moveTo>
                    <a:pt x="0" y="17"/>
                  </a:moveTo>
                  <a:cubicBezTo>
                    <a:pt x="0" y="21"/>
                    <a:pt x="16" y="20"/>
                    <a:pt x="23" y="17"/>
                  </a:cubicBezTo>
                  <a:cubicBezTo>
                    <a:pt x="27" y="16"/>
                    <a:pt x="39" y="11"/>
                    <a:pt x="40" y="7"/>
                  </a:cubicBezTo>
                  <a:cubicBezTo>
                    <a:pt x="12" y="0"/>
                    <a:pt x="22" y="11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3" name="Freeform 53">
              <a:extLst>
                <a:ext uri="{FF2B5EF4-FFF2-40B4-BE49-F238E27FC236}">
                  <a16:creationId xmlns:a16="http://schemas.microsoft.com/office/drawing/2014/main" id="{6C836365-3B40-4A4C-B4E8-4105DC343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1" y="1685"/>
              <a:ext cx="25" cy="15"/>
            </a:xfrm>
            <a:custGeom>
              <a:avLst/>
              <a:gdLst>
                <a:gd name="T0" fmla="*/ 0 w 37"/>
                <a:gd name="T1" fmla="*/ 18 h 22"/>
                <a:gd name="T2" fmla="*/ 23 w 37"/>
                <a:gd name="T3" fmla="*/ 14 h 22"/>
                <a:gd name="T4" fmla="*/ 37 w 37"/>
                <a:gd name="T5" fmla="*/ 1 h 22"/>
                <a:gd name="T6" fmla="*/ 0 w 37"/>
                <a:gd name="T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2">
                  <a:moveTo>
                    <a:pt x="0" y="18"/>
                  </a:moveTo>
                  <a:cubicBezTo>
                    <a:pt x="1" y="22"/>
                    <a:pt x="16" y="18"/>
                    <a:pt x="23" y="14"/>
                  </a:cubicBezTo>
                  <a:cubicBezTo>
                    <a:pt x="26" y="12"/>
                    <a:pt x="37" y="6"/>
                    <a:pt x="37" y="1"/>
                  </a:cubicBezTo>
                  <a:cubicBezTo>
                    <a:pt x="9" y="0"/>
                    <a:pt x="20" y="8"/>
                    <a:pt x="0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4" name="Freeform 54">
              <a:extLst>
                <a:ext uri="{FF2B5EF4-FFF2-40B4-BE49-F238E27FC236}">
                  <a16:creationId xmlns:a16="http://schemas.microsoft.com/office/drawing/2014/main" id="{81AEA284-BB1F-477A-AFF4-16147C8991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2" y="1671"/>
              <a:ext cx="26" cy="18"/>
            </a:xfrm>
            <a:custGeom>
              <a:avLst/>
              <a:gdLst>
                <a:gd name="T0" fmla="*/ 37 w 37"/>
                <a:gd name="T1" fmla="*/ 2 h 27"/>
                <a:gd name="T2" fmla="*/ 19 w 37"/>
                <a:gd name="T3" fmla="*/ 8 h 27"/>
                <a:gd name="T4" fmla="*/ 3 w 37"/>
                <a:gd name="T5" fmla="*/ 25 h 27"/>
                <a:gd name="T6" fmla="*/ 37 w 37"/>
                <a:gd name="T7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7">
                  <a:moveTo>
                    <a:pt x="37" y="2"/>
                  </a:moveTo>
                  <a:cubicBezTo>
                    <a:pt x="33" y="0"/>
                    <a:pt x="21" y="6"/>
                    <a:pt x="19" y="8"/>
                  </a:cubicBezTo>
                  <a:cubicBezTo>
                    <a:pt x="11" y="11"/>
                    <a:pt x="0" y="22"/>
                    <a:pt x="3" y="25"/>
                  </a:cubicBezTo>
                  <a:cubicBezTo>
                    <a:pt x="22" y="13"/>
                    <a:pt x="23" y="27"/>
                    <a:pt x="3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5" name="Freeform 55">
              <a:extLst>
                <a:ext uri="{FF2B5EF4-FFF2-40B4-BE49-F238E27FC236}">
                  <a16:creationId xmlns:a16="http://schemas.microsoft.com/office/drawing/2014/main" id="{907C1C67-5226-4893-90A2-5E94DD022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4" y="1635"/>
              <a:ext cx="22" cy="11"/>
            </a:xfrm>
            <a:custGeom>
              <a:avLst/>
              <a:gdLst>
                <a:gd name="T0" fmla="*/ 0 w 32"/>
                <a:gd name="T1" fmla="*/ 5 h 15"/>
                <a:gd name="T2" fmla="*/ 20 w 32"/>
                <a:gd name="T3" fmla="*/ 15 h 15"/>
                <a:gd name="T4" fmla="*/ 32 w 32"/>
                <a:gd name="T5" fmla="*/ 10 h 15"/>
                <a:gd name="T6" fmla="*/ 0 w 32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0" y="5"/>
                  </a:moveTo>
                  <a:cubicBezTo>
                    <a:pt x="9" y="8"/>
                    <a:pt x="14" y="14"/>
                    <a:pt x="20" y="15"/>
                  </a:cubicBezTo>
                  <a:cubicBezTo>
                    <a:pt x="28" y="15"/>
                    <a:pt x="30" y="13"/>
                    <a:pt x="32" y="10"/>
                  </a:cubicBezTo>
                  <a:cubicBezTo>
                    <a:pt x="29" y="0"/>
                    <a:pt x="9" y="1"/>
                    <a:pt x="0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6" name="Freeform 56">
              <a:extLst>
                <a:ext uri="{FF2B5EF4-FFF2-40B4-BE49-F238E27FC236}">
                  <a16:creationId xmlns:a16="http://schemas.microsoft.com/office/drawing/2014/main" id="{4D1B4D09-5F0F-43A9-A4F0-96F97ADB5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4" y="1646"/>
              <a:ext cx="13" cy="22"/>
            </a:xfrm>
            <a:custGeom>
              <a:avLst/>
              <a:gdLst>
                <a:gd name="T0" fmla="*/ 14 w 18"/>
                <a:gd name="T1" fmla="*/ 32 h 32"/>
                <a:gd name="T2" fmla="*/ 16 w 18"/>
                <a:gd name="T3" fmla="*/ 10 h 32"/>
                <a:gd name="T4" fmla="*/ 8 w 18"/>
                <a:gd name="T5" fmla="*/ 0 h 32"/>
                <a:gd name="T6" fmla="*/ 14 w 1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2">
                  <a:moveTo>
                    <a:pt x="14" y="32"/>
                  </a:moveTo>
                  <a:cubicBezTo>
                    <a:pt x="14" y="22"/>
                    <a:pt x="18" y="16"/>
                    <a:pt x="16" y="10"/>
                  </a:cubicBezTo>
                  <a:cubicBezTo>
                    <a:pt x="14" y="2"/>
                    <a:pt x="11" y="1"/>
                    <a:pt x="8" y="0"/>
                  </a:cubicBezTo>
                  <a:cubicBezTo>
                    <a:pt x="0" y="6"/>
                    <a:pt x="7" y="24"/>
                    <a:pt x="1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7" name="Freeform 57">
              <a:extLst>
                <a:ext uri="{FF2B5EF4-FFF2-40B4-BE49-F238E27FC236}">
                  <a16:creationId xmlns:a16="http://schemas.microsoft.com/office/drawing/2014/main" id="{562508A5-0578-4C10-AA7A-405FF527E4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4" y="1643"/>
              <a:ext cx="26" cy="14"/>
            </a:xfrm>
            <a:custGeom>
              <a:avLst/>
              <a:gdLst>
                <a:gd name="T0" fmla="*/ 27 w 38"/>
                <a:gd name="T1" fmla="*/ 2 h 20"/>
                <a:gd name="T2" fmla="*/ 0 w 38"/>
                <a:gd name="T3" fmla="*/ 9 h 20"/>
                <a:gd name="T4" fmla="*/ 30 w 38"/>
                <a:gd name="T5" fmla="*/ 15 h 20"/>
                <a:gd name="T6" fmla="*/ 38 w 38"/>
                <a:gd name="T7" fmla="*/ 11 h 20"/>
                <a:gd name="T8" fmla="*/ 27 w 3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27" y="2"/>
                  </a:moveTo>
                  <a:cubicBezTo>
                    <a:pt x="19" y="0"/>
                    <a:pt x="5" y="5"/>
                    <a:pt x="0" y="9"/>
                  </a:cubicBezTo>
                  <a:cubicBezTo>
                    <a:pt x="11" y="8"/>
                    <a:pt x="17" y="20"/>
                    <a:pt x="30" y="15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6"/>
                    <a:pt x="31" y="4"/>
                    <a:pt x="27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8" name="Freeform 58">
              <a:extLst>
                <a:ext uri="{FF2B5EF4-FFF2-40B4-BE49-F238E27FC236}">
                  <a16:creationId xmlns:a16="http://schemas.microsoft.com/office/drawing/2014/main" id="{B930E1D0-9E5B-47CF-8079-A8404C2D02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2" y="1651"/>
              <a:ext cx="14" cy="25"/>
            </a:xfrm>
            <a:custGeom>
              <a:avLst/>
              <a:gdLst>
                <a:gd name="T0" fmla="*/ 2 w 20"/>
                <a:gd name="T1" fmla="*/ 11 h 37"/>
                <a:gd name="T2" fmla="*/ 10 w 20"/>
                <a:gd name="T3" fmla="*/ 37 h 37"/>
                <a:gd name="T4" fmla="*/ 14 w 20"/>
                <a:gd name="T5" fmla="*/ 8 h 37"/>
                <a:gd name="T6" fmla="*/ 10 w 20"/>
                <a:gd name="T7" fmla="*/ 0 h 37"/>
                <a:gd name="T8" fmla="*/ 2 w 20"/>
                <a:gd name="T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7">
                  <a:moveTo>
                    <a:pt x="2" y="11"/>
                  </a:moveTo>
                  <a:cubicBezTo>
                    <a:pt x="0" y="19"/>
                    <a:pt x="6" y="33"/>
                    <a:pt x="10" y="37"/>
                  </a:cubicBezTo>
                  <a:cubicBezTo>
                    <a:pt x="9" y="27"/>
                    <a:pt x="20" y="20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3" y="6"/>
                    <a:pt x="2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39" name="Freeform 59">
              <a:extLst>
                <a:ext uri="{FF2B5EF4-FFF2-40B4-BE49-F238E27FC236}">
                  <a16:creationId xmlns:a16="http://schemas.microsoft.com/office/drawing/2014/main" id="{5ADAA5EB-DEB3-40A7-8E1D-9FEAA6483A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0" y="1731"/>
              <a:ext cx="21" cy="14"/>
            </a:xfrm>
            <a:custGeom>
              <a:avLst/>
              <a:gdLst>
                <a:gd name="T0" fmla="*/ 32 w 32"/>
                <a:gd name="T1" fmla="*/ 0 h 21"/>
                <a:gd name="T2" fmla="*/ 23 w 32"/>
                <a:gd name="T3" fmla="*/ 0 h 21"/>
                <a:gd name="T4" fmla="*/ 0 w 32"/>
                <a:gd name="T5" fmla="*/ 20 h 21"/>
                <a:gd name="T6" fmla="*/ 27 w 32"/>
                <a:gd name="T7" fmla="*/ 12 h 21"/>
                <a:gd name="T8" fmla="*/ 32 w 3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2"/>
                    <a:pt x="10" y="16"/>
                    <a:pt x="0" y="20"/>
                  </a:cubicBezTo>
                  <a:cubicBezTo>
                    <a:pt x="6" y="21"/>
                    <a:pt x="21" y="19"/>
                    <a:pt x="27" y="12"/>
                  </a:cubicBezTo>
                  <a:cubicBezTo>
                    <a:pt x="30" y="9"/>
                    <a:pt x="31" y="5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40" name="Freeform 60">
              <a:extLst>
                <a:ext uri="{FF2B5EF4-FFF2-40B4-BE49-F238E27FC236}">
                  <a16:creationId xmlns:a16="http://schemas.microsoft.com/office/drawing/2014/main" id="{77E24C52-42CA-4BE2-B236-12EB366BAB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9" y="1655"/>
              <a:ext cx="24" cy="14"/>
            </a:xfrm>
            <a:custGeom>
              <a:avLst/>
              <a:gdLst>
                <a:gd name="T0" fmla="*/ 16 w 36"/>
                <a:gd name="T1" fmla="*/ 2 h 20"/>
                <a:gd name="T2" fmla="*/ 0 w 36"/>
                <a:gd name="T3" fmla="*/ 19 h 20"/>
                <a:gd name="T4" fmla="*/ 36 w 36"/>
                <a:gd name="T5" fmla="*/ 4 h 20"/>
                <a:gd name="T6" fmla="*/ 16 w 36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cubicBezTo>
                    <a:pt x="4" y="6"/>
                    <a:pt x="3" y="10"/>
                    <a:pt x="0" y="19"/>
                  </a:cubicBezTo>
                  <a:cubicBezTo>
                    <a:pt x="13" y="7"/>
                    <a:pt x="30" y="20"/>
                    <a:pt x="36" y="4"/>
                  </a:cubicBezTo>
                  <a:cubicBezTo>
                    <a:pt x="31" y="0"/>
                    <a:pt x="21" y="0"/>
                    <a:pt x="16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41" name="Freeform 61">
              <a:extLst>
                <a:ext uri="{FF2B5EF4-FFF2-40B4-BE49-F238E27FC236}">
                  <a16:creationId xmlns:a16="http://schemas.microsoft.com/office/drawing/2014/main" id="{81490CF2-BADA-4546-BC7B-7D4CCD73CF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8" y="1659"/>
              <a:ext cx="15" cy="27"/>
            </a:xfrm>
            <a:custGeom>
              <a:avLst/>
              <a:gdLst>
                <a:gd name="T0" fmla="*/ 1 w 22"/>
                <a:gd name="T1" fmla="*/ 19 h 39"/>
                <a:gd name="T2" fmla="*/ 13 w 22"/>
                <a:gd name="T3" fmla="*/ 39 h 39"/>
                <a:gd name="T4" fmla="*/ 9 w 22"/>
                <a:gd name="T5" fmla="*/ 0 h 39"/>
                <a:gd name="T6" fmla="*/ 1 w 22"/>
                <a:gd name="T7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9">
                  <a:moveTo>
                    <a:pt x="1" y="19"/>
                  </a:moveTo>
                  <a:cubicBezTo>
                    <a:pt x="2" y="32"/>
                    <a:pt x="5" y="34"/>
                    <a:pt x="13" y="39"/>
                  </a:cubicBezTo>
                  <a:cubicBezTo>
                    <a:pt x="5" y="23"/>
                    <a:pt x="22" y="10"/>
                    <a:pt x="9" y="0"/>
                  </a:cubicBezTo>
                  <a:cubicBezTo>
                    <a:pt x="3" y="4"/>
                    <a:pt x="0" y="13"/>
                    <a:pt x="1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  <p:sp>
          <p:nvSpPr>
            <p:cNvPr id="242" name="Freeform 62">
              <a:extLst>
                <a:ext uri="{FF2B5EF4-FFF2-40B4-BE49-F238E27FC236}">
                  <a16:creationId xmlns:a16="http://schemas.microsoft.com/office/drawing/2014/main" id="{73F9C922-5F78-4C16-AB8C-748B7E92C5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8" y="1672"/>
              <a:ext cx="9" cy="26"/>
            </a:xfrm>
            <a:custGeom>
              <a:avLst/>
              <a:gdLst>
                <a:gd name="T0" fmla="*/ 1 w 13"/>
                <a:gd name="T1" fmla="*/ 0 h 39"/>
                <a:gd name="T2" fmla="*/ 8 w 13"/>
                <a:gd name="T3" fmla="*/ 39 h 39"/>
                <a:gd name="T4" fmla="*/ 9 w 13"/>
                <a:gd name="T5" fmla="*/ 10 h 39"/>
                <a:gd name="T6" fmla="*/ 1 w 13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">
                  <a:moveTo>
                    <a:pt x="1" y="0"/>
                  </a:moveTo>
                  <a:cubicBezTo>
                    <a:pt x="0" y="17"/>
                    <a:pt x="0" y="31"/>
                    <a:pt x="8" y="39"/>
                  </a:cubicBezTo>
                  <a:cubicBezTo>
                    <a:pt x="13" y="25"/>
                    <a:pt x="13" y="19"/>
                    <a:pt x="9" y="10"/>
                  </a:cubicBezTo>
                  <a:cubicBezTo>
                    <a:pt x="8" y="6"/>
                    <a:pt x="4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AU" noProof="0"/>
            </a:p>
          </p:txBody>
        </p:sp>
      </p:grpSp>
    </p:spTree>
    <p:extLst>
      <p:ext uri="{BB962C8B-B14F-4D97-AF65-F5344CB8AC3E}">
        <p14:creationId xmlns:p14="http://schemas.microsoft.com/office/powerpoint/2010/main" val="2864487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68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 typeface="Calibri" panose="020F0502020204030204" pitchFamily="34" charset="0"/>
        <a:buChar char="–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notesSlide" Target="../notesSlides/notesSlide1.xml"/><Relationship Id="rId7" Type="http://schemas.openxmlformats.org/officeDocument/2006/relationships/diagramLayout" Target="../diagrams/layout2.xml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1.xml"/><Relationship Id="rId6" Type="http://schemas.openxmlformats.org/officeDocument/2006/relationships/diagramData" Target="../diagrams/data2.xml"/><Relationship Id="rId5" Type="http://schemas.openxmlformats.org/officeDocument/2006/relationships/image" Target="../media/image20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1.bin"/><Relationship Id="rId9" Type="http://schemas.openxmlformats.org/officeDocument/2006/relationships/diagramColors" Target="../diagrams/colors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2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3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6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15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15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62FC2E14-24A9-4C48-BA13-A2E74B0AAD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0064" y="2508483"/>
            <a:ext cx="10511648" cy="1841034"/>
          </a:xfrm>
        </p:spPr>
        <p:txBody>
          <a:bodyPr/>
          <a:lstStyle/>
          <a:p>
            <a:r>
              <a:rPr lang="en-US" dirty="0"/>
              <a:t>Looking back, looking forward: How funding has and hasn’t driven reform and where to next</a:t>
            </a:r>
            <a:endParaRPr lang="en-US" sz="2000" b="0" i="1" dirty="0">
              <a:latin typeface="+mn-lt"/>
            </a:endParaRP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</a:pPr>
            <a:endParaRPr lang="en-US" sz="2000" b="0" i="1" dirty="0">
              <a:latin typeface="+mn-lt"/>
            </a:endParaRP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</a:pPr>
            <a:endParaRPr lang="en-US" sz="2000" b="0" i="1" dirty="0">
              <a:latin typeface="+mn-lt"/>
            </a:endParaRP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</a:pPr>
            <a:endParaRPr lang="en-US" sz="2000" b="0" i="1" dirty="0">
              <a:latin typeface="+mn-lt"/>
            </a:endParaRP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b="0" i="1" dirty="0">
                <a:latin typeface="+mn-lt"/>
              </a:rPr>
              <a:t>Presentation to Queensland Mental Health Summit</a:t>
            </a: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b="0" i="1" dirty="0">
                <a:latin typeface="+mn-lt"/>
              </a:rPr>
              <a:t>May 2026</a:t>
            </a: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</a:pPr>
            <a:endParaRPr lang="en-US" sz="2000" b="0" i="1" dirty="0">
              <a:latin typeface="+mn-lt"/>
            </a:endParaRP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</a:pPr>
            <a:endParaRPr lang="en-US" sz="2000" b="0" i="1" dirty="0">
              <a:latin typeface="+mn-lt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8B2EE45-87B9-4782-B32A-4A2D3ACDF85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0064" y="6150769"/>
            <a:ext cx="6658384" cy="707231"/>
          </a:xfrm>
        </p:spPr>
        <p:txBody>
          <a:bodyPr>
            <a:normAutofit fontScale="25000" lnSpcReduction="20000"/>
          </a:bodyPr>
          <a:lstStyle/>
          <a:p>
            <a:r>
              <a:rPr lang="en-AU" sz="7200" dirty="0"/>
              <a:t>Stephen Duckett</a:t>
            </a:r>
          </a:p>
          <a:p>
            <a:r>
              <a:rPr lang="en-AU" sz="7200" dirty="0"/>
              <a:t>@stephenjduckett</a:t>
            </a:r>
          </a:p>
          <a:p>
            <a:r>
              <a:rPr lang="en-GB" i="1" dirty="0"/>
              <a:t>	</a:t>
            </a:r>
          </a:p>
          <a:p>
            <a:endParaRPr lang="en-A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3A3A8E-36C3-446B-985E-CEB7C282636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AU"/>
              <a:t>Identifier first line</a:t>
            </a:r>
          </a:p>
          <a:p>
            <a:pPr lvl="1"/>
            <a:r>
              <a:rPr lang="en-AU"/>
              <a:t>Second line</a:t>
            </a:r>
          </a:p>
          <a:p>
            <a:endParaRPr lang="en-AU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61E6A6-BA53-48F9-8469-A76DD198140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37938" y="6172200"/>
            <a:ext cx="754062" cy="365125"/>
          </a:xfrm>
        </p:spPr>
        <p:txBody>
          <a:bodyPr/>
          <a:lstStyle/>
          <a:p>
            <a:fld id="{DC22DD25-61AE-413C-B4D2-EF2365C9B2E1}" type="slidenum">
              <a:rPr lang="en-AU" noProof="0" smtClean="0"/>
              <a:pPr/>
              <a:t>1</a:t>
            </a:fld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24598550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1"/>
          <p:cNvSpPr>
            <a:spLocks noGrp="1"/>
          </p:cNvSpPr>
          <p:nvPr>
            <p:ph type="title"/>
          </p:nvPr>
        </p:nvSpPr>
        <p:spPr>
          <a:xfrm>
            <a:off x="1291077" y="287608"/>
            <a:ext cx="10763235" cy="887360"/>
          </a:xfrm>
        </p:spPr>
        <p:txBody>
          <a:bodyPr/>
          <a:lstStyle/>
          <a:p>
            <a:r>
              <a:rPr lang="en-CA" altLang="en-US" sz="3600" dirty="0"/>
              <a:t>The expenditure identity and its implications</a:t>
            </a: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A8D1C75E-25A9-ABAF-1C35-483A4E5517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7848769"/>
              </p:ext>
            </p:extLst>
          </p:nvPr>
        </p:nvGraphicFramePr>
        <p:xfrm>
          <a:off x="4375202" y="3201234"/>
          <a:ext cx="6172202" cy="11353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652">
                  <a:extLst>
                    <a:ext uri="{9D8B030D-6E8A-4147-A177-3AD203B41FA5}">
                      <a16:colId xmlns:a16="http://schemas.microsoft.com/office/drawing/2014/main" val="1657377260"/>
                    </a:ext>
                  </a:extLst>
                </a:gridCol>
                <a:gridCol w="1041948">
                  <a:extLst>
                    <a:ext uri="{9D8B030D-6E8A-4147-A177-3AD203B41FA5}">
                      <a16:colId xmlns:a16="http://schemas.microsoft.com/office/drawing/2014/main" val="1818772040"/>
                    </a:ext>
                  </a:extLst>
                </a:gridCol>
                <a:gridCol w="953496">
                  <a:extLst>
                    <a:ext uri="{9D8B030D-6E8A-4147-A177-3AD203B41FA5}">
                      <a16:colId xmlns:a16="http://schemas.microsoft.com/office/drawing/2014/main" val="454367385"/>
                    </a:ext>
                  </a:extLst>
                </a:gridCol>
                <a:gridCol w="1503954">
                  <a:extLst>
                    <a:ext uri="{9D8B030D-6E8A-4147-A177-3AD203B41FA5}">
                      <a16:colId xmlns:a16="http://schemas.microsoft.com/office/drawing/2014/main" val="631909829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4106060516"/>
                    </a:ext>
                  </a:extLst>
                </a:gridCol>
                <a:gridCol w="1028702">
                  <a:extLst>
                    <a:ext uri="{9D8B030D-6E8A-4147-A177-3AD203B41FA5}">
                      <a16:colId xmlns:a16="http://schemas.microsoft.com/office/drawing/2014/main" val="491776640"/>
                    </a:ext>
                  </a:extLst>
                </a:gridCol>
              </a:tblGrid>
              <a:tr h="1097280">
                <a:tc>
                  <a:txBody>
                    <a:bodyPr/>
                    <a:lstStyle/>
                    <a:p>
                      <a:r>
                        <a:rPr lang="en-AU" sz="2100" b="0" i="1" dirty="0">
                          <a:solidFill>
                            <a:schemeClr val="tx1"/>
                          </a:solidFill>
                        </a:rPr>
                        <a:t>f</a:t>
                      </a:r>
                      <a:endParaRPr lang="en-AU" sz="2100" b="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0" dirty="0">
                          <a:solidFill>
                            <a:schemeClr val="tx1"/>
                          </a:solidFill>
                        </a:rPr>
                        <a:t>Expected incidence of </a:t>
                      </a:r>
                      <a:r>
                        <a:rPr lang="en-AU" sz="18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sz="1400" b="0" dirty="0">
                          <a:solidFill>
                            <a:schemeClr val="tx1"/>
                          </a:solidFill>
                        </a:rPr>
                        <a:t>illness</a:t>
                      </a:r>
                    </a:p>
                    <a:p>
                      <a:endParaRPr lang="en-AU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sz="1400" b="0" dirty="0">
                          <a:solidFill>
                            <a:schemeClr val="tx1"/>
                          </a:solidFill>
                        </a:rPr>
                        <a:t>Ratio of actual to expected incidence of illness</a:t>
                      </a:r>
                    </a:p>
                  </a:txBody>
                  <a:tcPr marL="68580" marR="68580" marT="34290" marB="3429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0" dirty="0">
                          <a:solidFill>
                            <a:schemeClr val="tx1"/>
                          </a:solidFill>
                        </a:rPr>
                        <a:t>Rate of conversion of illness to hospital admission</a:t>
                      </a:r>
                    </a:p>
                    <a:p>
                      <a:endParaRPr lang="en-AU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sz="1400" b="0">
                          <a:solidFill>
                            <a:schemeClr val="tx1"/>
                          </a:solidFill>
                        </a:rPr>
                        <a:t>Use of resources (days, tests) for each treated patient</a:t>
                      </a:r>
                      <a:endParaRPr lang="en-AU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sz="1400" b="0" dirty="0">
                          <a:solidFill>
                            <a:schemeClr val="tx1"/>
                          </a:solidFill>
                        </a:rPr>
                        <a:t>Cost of each unit of resource</a:t>
                      </a:r>
                    </a:p>
                  </a:txBody>
                  <a:tcPr marL="68580" marR="68580" marT="34290" marB="3429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0450052"/>
                  </a:ext>
                </a:extLst>
              </a:tr>
            </a:tbl>
          </a:graphicData>
        </a:graphic>
      </p:graphicFrame>
      <p:sp>
        <p:nvSpPr>
          <p:cNvPr id="5" name="Double Brace 4">
            <a:extLst>
              <a:ext uri="{FF2B5EF4-FFF2-40B4-BE49-F238E27FC236}">
                <a16:creationId xmlns:a16="http://schemas.microsoft.com/office/drawing/2014/main" id="{E5A1D6F3-01E4-7B00-62BB-C156EF65636D}"/>
              </a:ext>
            </a:extLst>
          </p:cNvPr>
          <p:cNvSpPr/>
          <p:nvPr/>
        </p:nvSpPr>
        <p:spPr>
          <a:xfrm>
            <a:off x="4598833" y="2928321"/>
            <a:ext cx="6172202" cy="1543050"/>
          </a:xfrm>
          <a:prstGeom prst="bracePair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185A7A5-130B-84A4-6652-E839C24EBD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95109" y="3153079"/>
            <a:ext cx="3487584" cy="1420011"/>
          </a:xfrm>
        </p:spPr>
        <p:txBody>
          <a:bodyPr/>
          <a:lstStyle/>
          <a:p>
            <a:endParaRPr lang="en-CA" altLang="en-US" dirty="0"/>
          </a:p>
          <a:p>
            <a:r>
              <a:rPr lang="en-CA" altLang="en-US" dirty="0"/>
              <a:t>Total hospital expenditure =</a:t>
            </a:r>
          </a:p>
          <a:p>
            <a:endParaRPr lang="en-CA" alt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70567A3-C992-23F0-DE23-91D7922005FB}"/>
              </a:ext>
            </a:extLst>
          </p:cNvPr>
          <p:cNvSpPr txBox="1">
            <a:spLocks/>
          </p:cNvSpPr>
          <p:nvPr/>
        </p:nvSpPr>
        <p:spPr bwMode="auto">
          <a:xfrm>
            <a:off x="5733538" y="3134648"/>
            <a:ext cx="114300" cy="1418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buNone/>
            </a:pPr>
            <a:r>
              <a:rPr lang="en-CA" altLang="en-US" sz="3000" dirty="0"/>
              <a:t>,</a:t>
            </a:r>
          </a:p>
          <a:p>
            <a:pPr marL="0" indent="0" eaLnBrk="1" hangingPunct="1">
              <a:buNone/>
            </a:pPr>
            <a:endParaRPr lang="en-CA" altLang="en-US" sz="300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BF16B2F-0AFD-9E5F-FABA-02A756794217}"/>
              </a:ext>
            </a:extLst>
          </p:cNvPr>
          <p:cNvSpPr txBox="1">
            <a:spLocks/>
          </p:cNvSpPr>
          <p:nvPr/>
        </p:nvSpPr>
        <p:spPr bwMode="auto">
          <a:xfrm>
            <a:off x="6615544" y="3227229"/>
            <a:ext cx="114300" cy="127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buNone/>
            </a:pPr>
            <a:r>
              <a:rPr lang="en-CA" altLang="en-US" sz="3000" dirty="0"/>
              <a:t>,</a:t>
            </a:r>
          </a:p>
          <a:p>
            <a:pPr marL="0" indent="0" eaLnBrk="1" hangingPunct="1">
              <a:buNone/>
            </a:pPr>
            <a:endParaRPr lang="en-CA" altLang="en-US" sz="300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1E2C7D8-417A-5163-AC7D-431257F7569D}"/>
              </a:ext>
            </a:extLst>
          </p:cNvPr>
          <p:cNvSpPr txBox="1">
            <a:spLocks/>
          </p:cNvSpPr>
          <p:nvPr/>
        </p:nvSpPr>
        <p:spPr bwMode="auto">
          <a:xfrm>
            <a:off x="8150956" y="3227229"/>
            <a:ext cx="342022" cy="1206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buNone/>
            </a:pPr>
            <a:r>
              <a:rPr lang="en-CA" altLang="en-US" sz="3000" dirty="0"/>
              <a:t>,</a:t>
            </a:r>
          </a:p>
          <a:p>
            <a:pPr marL="0" indent="0" eaLnBrk="1" hangingPunct="1">
              <a:buNone/>
            </a:pPr>
            <a:endParaRPr lang="en-CA" altLang="en-US" sz="3000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D974CF0-E274-4A0F-A00B-16D5A8F8180C}"/>
              </a:ext>
            </a:extLst>
          </p:cNvPr>
          <p:cNvSpPr txBox="1">
            <a:spLocks/>
          </p:cNvSpPr>
          <p:nvPr/>
        </p:nvSpPr>
        <p:spPr bwMode="auto">
          <a:xfrm>
            <a:off x="9405889" y="3233771"/>
            <a:ext cx="114301" cy="1137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buNone/>
            </a:pPr>
            <a:r>
              <a:rPr lang="en-CA" altLang="en-US" sz="3000" dirty="0"/>
              <a:t>,</a:t>
            </a:r>
          </a:p>
          <a:p>
            <a:pPr marL="0" indent="0" eaLnBrk="1" hangingPunct="1">
              <a:buNone/>
            </a:pPr>
            <a:endParaRPr lang="en-CA" altLang="en-US" sz="30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FA9C59A-25E5-0703-7B1E-CC160BD3178C}"/>
              </a:ext>
            </a:extLst>
          </p:cNvPr>
          <p:cNvSpPr/>
          <p:nvPr/>
        </p:nvSpPr>
        <p:spPr>
          <a:xfrm>
            <a:off x="5592993" y="3000955"/>
            <a:ext cx="2627286" cy="1350769"/>
          </a:xfrm>
          <a:prstGeom prst="rect">
            <a:avLst/>
          </a:prstGeom>
          <a:solidFill>
            <a:schemeClr val="accent1">
              <a:lumMod val="20000"/>
              <a:lumOff val="80000"/>
              <a:alpha val="4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98DACB3-1A38-9039-51A0-C94B98252515}"/>
              </a:ext>
            </a:extLst>
          </p:cNvPr>
          <p:cNvSpPr/>
          <p:nvPr/>
        </p:nvSpPr>
        <p:spPr>
          <a:xfrm>
            <a:off x="8236911" y="2988212"/>
            <a:ext cx="2337956" cy="1371737"/>
          </a:xfrm>
          <a:prstGeom prst="rect">
            <a:avLst/>
          </a:prstGeom>
          <a:solidFill>
            <a:schemeClr val="accent3">
              <a:lumMod val="40000"/>
              <a:lumOff val="60000"/>
              <a:alpha val="4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9" name="Speech Bubble: Rectangle with Corners Rounded 18">
            <a:extLst>
              <a:ext uri="{FF2B5EF4-FFF2-40B4-BE49-F238E27FC236}">
                <a16:creationId xmlns:a16="http://schemas.microsoft.com/office/drawing/2014/main" id="{6A4504C7-D668-B44A-E1CF-1154039A133C}"/>
              </a:ext>
            </a:extLst>
          </p:cNvPr>
          <p:cNvSpPr/>
          <p:nvPr/>
        </p:nvSpPr>
        <p:spPr>
          <a:xfrm>
            <a:off x="8017632" y="4584578"/>
            <a:ext cx="3005116" cy="665820"/>
          </a:xfrm>
          <a:prstGeom prst="wedgeRoundRectCallout">
            <a:avLst>
              <a:gd name="adj1" fmla="val 17896"/>
              <a:gd name="adj2" fmla="val -7269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500" dirty="0"/>
              <a:t>A focus here is about technical efficiency, the tools for which are well known</a:t>
            </a:r>
          </a:p>
        </p:txBody>
      </p:sp>
      <p:sp>
        <p:nvSpPr>
          <p:cNvPr id="20" name="Speech Bubble: Rectangle with Corners Rounded 19">
            <a:extLst>
              <a:ext uri="{FF2B5EF4-FFF2-40B4-BE49-F238E27FC236}">
                <a16:creationId xmlns:a16="http://schemas.microsoft.com/office/drawing/2014/main" id="{DD284F19-BEDB-17E7-2A3A-DF88F5127144}"/>
              </a:ext>
            </a:extLst>
          </p:cNvPr>
          <p:cNvSpPr/>
          <p:nvPr/>
        </p:nvSpPr>
        <p:spPr>
          <a:xfrm>
            <a:off x="4598832" y="4601537"/>
            <a:ext cx="3402167" cy="2041889"/>
          </a:xfrm>
          <a:prstGeom prst="wedgeRoundRectCallout">
            <a:avLst>
              <a:gd name="adj1" fmla="val 19285"/>
              <a:gd name="adj2" fmla="val -58594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500" dirty="0"/>
              <a:t>Addressing these components is necessary to achieve allocative efficiency and value but is much harder:</a:t>
            </a:r>
          </a:p>
          <a:p>
            <a:pPr algn="ctr"/>
            <a:endParaRPr lang="en-AU" sz="1500" dirty="0"/>
          </a:p>
          <a:p>
            <a:pPr algn="ctr"/>
            <a:endParaRPr lang="en-AU" sz="1500" dirty="0"/>
          </a:p>
          <a:p>
            <a:pPr algn="ctr"/>
            <a:endParaRPr lang="en-AU" sz="1500" dirty="0"/>
          </a:p>
        </p:txBody>
      </p:sp>
      <p:sp>
        <p:nvSpPr>
          <p:cNvPr id="3" name="Speech Bubble: Rectangle with Corners Rounded 2">
            <a:extLst>
              <a:ext uri="{FF2B5EF4-FFF2-40B4-BE49-F238E27FC236}">
                <a16:creationId xmlns:a16="http://schemas.microsoft.com/office/drawing/2014/main" id="{5B156F10-40B4-EEA5-AB7B-207A13A7C7D5}"/>
              </a:ext>
            </a:extLst>
          </p:cNvPr>
          <p:cNvSpPr/>
          <p:nvPr/>
        </p:nvSpPr>
        <p:spPr>
          <a:xfrm>
            <a:off x="1291077" y="4234070"/>
            <a:ext cx="1833280" cy="1858617"/>
          </a:xfrm>
          <a:prstGeom prst="wedgeRoundRectCallout">
            <a:avLst>
              <a:gd name="adj1" fmla="val -20921"/>
              <a:gd name="adj2" fmla="val -64772"/>
              <a:gd name="adj3" fmla="val 16667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State has very clear incentive to reduce hospital expenditure, why hasn’t it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3A4F106-B116-855A-18EE-D34532236F3E}"/>
              </a:ext>
            </a:extLst>
          </p:cNvPr>
          <p:cNvSpPr txBox="1"/>
          <p:nvPr/>
        </p:nvSpPr>
        <p:spPr>
          <a:xfrm>
            <a:off x="4604918" y="5860584"/>
            <a:ext cx="32171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>
                <a:solidFill>
                  <a:srgbClr val="FFFF00"/>
                </a:solidFill>
              </a:rPr>
              <a:t>Do we know how to change either of these thing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>
                <a:solidFill>
                  <a:srgbClr val="FFFF00"/>
                </a:solidFill>
              </a:rPr>
              <a:t>Do we have the levers?</a:t>
            </a:r>
          </a:p>
        </p:txBody>
      </p:sp>
      <p:sp>
        <p:nvSpPr>
          <p:cNvPr id="12" name="Speech Bubble: Rectangle with Corners Rounded 11">
            <a:extLst>
              <a:ext uri="{FF2B5EF4-FFF2-40B4-BE49-F238E27FC236}">
                <a16:creationId xmlns:a16="http://schemas.microsoft.com/office/drawing/2014/main" id="{4EF16FD0-76BB-3EF1-C1C5-7A8CE35E49DA}"/>
              </a:ext>
            </a:extLst>
          </p:cNvPr>
          <p:cNvSpPr/>
          <p:nvPr/>
        </p:nvSpPr>
        <p:spPr>
          <a:xfrm>
            <a:off x="8443581" y="5363605"/>
            <a:ext cx="3217177" cy="1397118"/>
          </a:xfrm>
          <a:prstGeom prst="wedgeRoundRectCallout">
            <a:avLst>
              <a:gd name="adj1" fmla="val -64804"/>
              <a:gd name="adj2" fmla="val -5719"/>
              <a:gd name="adj3" fmla="val 16667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What level (national, state, HHS etc) best placed to influenc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What incentives are on HHSs?</a:t>
            </a:r>
          </a:p>
        </p:txBody>
      </p:sp>
      <p:sp>
        <p:nvSpPr>
          <p:cNvPr id="6" name="Speech Bubble: Rectangle with Corners Rounded 5">
            <a:extLst>
              <a:ext uri="{FF2B5EF4-FFF2-40B4-BE49-F238E27FC236}">
                <a16:creationId xmlns:a16="http://schemas.microsoft.com/office/drawing/2014/main" id="{92527400-AC08-1F69-BE8F-A4021441224B}"/>
              </a:ext>
            </a:extLst>
          </p:cNvPr>
          <p:cNvSpPr/>
          <p:nvPr/>
        </p:nvSpPr>
        <p:spPr>
          <a:xfrm>
            <a:off x="6595308" y="1439891"/>
            <a:ext cx="1726659" cy="1287494"/>
          </a:xfrm>
          <a:prstGeom prst="wedgeRoundRectCallo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Including reducing (unnecessary) readmissions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F2133197-8895-573A-434F-48381E894687}"/>
              </a:ext>
            </a:extLst>
          </p:cNvPr>
          <p:cNvSpPr/>
          <p:nvPr/>
        </p:nvSpPr>
        <p:spPr>
          <a:xfrm>
            <a:off x="10887175" y="3153079"/>
            <a:ext cx="1134705" cy="968052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Achieves outcome</a:t>
            </a:r>
          </a:p>
        </p:txBody>
      </p:sp>
    </p:spTree>
    <p:extLst>
      <p:ext uri="{BB962C8B-B14F-4D97-AF65-F5344CB8AC3E}">
        <p14:creationId xmlns:p14="http://schemas.microsoft.com/office/powerpoint/2010/main" val="41053403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3" grpId="0" animBg="1"/>
      <p:bldP spid="4" grpId="0"/>
      <p:bldP spid="12" grpId="0" animBg="1"/>
      <p:bldP spid="6" grpId="0" animBg="1"/>
      <p:bldP spid="1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EE9AB1-FBCB-26D2-297F-AEA03C28CF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The service (non) system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6811EAAC-A604-28FF-53A7-85958E6371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41935957"/>
              </p:ext>
            </p:extLst>
          </p:nvPr>
        </p:nvGraphicFramePr>
        <p:xfrm>
          <a:off x="2704288" y="1420238"/>
          <a:ext cx="7455711" cy="47180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603024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08D00-240C-DD9A-7FF9-2DBE3FE6CD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MPHN knows something about outcomes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ABB6E78-6A38-B98E-13AD-1AC1B8208B1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39324978"/>
              </p:ext>
            </p:extLst>
          </p:nvPr>
        </p:nvGraphicFramePr>
        <p:xfrm>
          <a:off x="1614791" y="1282426"/>
          <a:ext cx="8407033" cy="5390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389369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C2B705-AFD2-62C0-BA1F-AB658F394B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How EMPHN gets funded (and how we fund)</a:t>
            </a:r>
          </a:p>
        </p:txBody>
      </p:sp>
      <p:pic>
        <p:nvPicPr>
          <p:cNvPr id="4" name="Picture 3" descr="A diagram of a diagram&#10;&#10;AI-generated content may be incorrect.">
            <a:extLst>
              <a:ext uri="{FF2B5EF4-FFF2-40B4-BE49-F238E27FC236}">
                <a16:creationId xmlns:a16="http://schemas.microsoft.com/office/drawing/2014/main" id="{E4671230-40A6-CF63-AEC4-8072634975B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6802" b="9931"/>
          <a:stretch>
            <a:fillRect/>
          </a:stretch>
        </p:blipFill>
        <p:spPr>
          <a:xfrm>
            <a:off x="600151" y="1361872"/>
            <a:ext cx="8543849" cy="547247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4FF2EE0-FF42-509C-E246-5FF20ACDBDF1}"/>
              </a:ext>
            </a:extLst>
          </p:cNvPr>
          <p:cNvSpPr txBox="1"/>
          <p:nvPr/>
        </p:nvSpPr>
        <p:spPr>
          <a:xfrm>
            <a:off x="6692630" y="1716494"/>
            <a:ext cx="2367064" cy="476323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24F0EEA-3728-3E38-CC06-59FC645D71C7}"/>
              </a:ext>
            </a:extLst>
          </p:cNvPr>
          <p:cNvSpPr txBox="1"/>
          <p:nvPr/>
        </p:nvSpPr>
        <p:spPr>
          <a:xfrm>
            <a:off x="3861881" y="1282426"/>
            <a:ext cx="2830749" cy="555192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AU" dirty="0"/>
          </a:p>
        </p:txBody>
      </p:sp>
      <p:sp>
        <p:nvSpPr>
          <p:cNvPr id="7" name="Flowchart: Alternate Process 6">
            <a:extLst>
              <a:ext uri="{FF2B5EF4-FFF2-40B4-BE49-F238E27FC236}">
                <a16:creationId xmlns:a16="http://schemas.microsoft.com/office/drawing/2014/main" id="{55094870-35BD-60DD-56D0-85B69797A486}"/>
              </a:ext>
            </a:extLst>
          </p:cNvPr>
          <p:cNvSpPr/>
          <p:nvPr/>
        </p:nvSpPr>
        <p:spPr>
          <a:xfrm>
            <a:off x="7033098" y="1527243"/>
            <a:ext cx="1896893" cy="4952484"/>
          </a:xfrm>
          <a:prstGeom prst="flowChartAlternateProcess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Shares depend on Funding Deeds</a:t>
            </a:r>
          </a:p>
        </p:txBody>
      </p:sp>
      <p:sp>
        <p:nvSpPr>
          <p:cNvPr id="8" name="Flowchart: Alternate Process 7">
            <a:extLst>
              <a:ext uri="{FF2B5EF4-FFF2-40B4-BE49-F238E27FC236}">
                <a16:creationId xmlns:a16="http://schemas.microsoft.com/office/drawing/2014/main" id="{9DFC38CC-54FD-F66A-75DA-16AA853D6DEA}"/>
              </a:ext>
            </a:extLst>
          </p:cNvPr>
          <p:cNvSpPr/>
          <p:nvPr/>
        </p:nvSpPr>
        <p:spPr>
          <a:xfrm>
            <a:off x="9484468" y="1510450"/>
            <a:ext cx="1896893" cy="4952484"/>
          </a:xfrm>
          <a:prstGeom prst="flowChartAlternateProcess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Shares depend on Needs analysis</a:t>
            </a:r>
          </a:p>
        </p:txBody>
      </p:sp>
    </p:spTree>
    <p:extLst>
      <p:ext uri="{BB962C8B-B14F-4D97-AF65-F5344CB8AC3E}">
        <p14:creationId xmlns:p14="http://schemas.microsoft.com/office/powerpoint/2010/main" val="28953354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7" grpId="1" animBg="1"/>
      <p:bldP spid="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4E6671-3823-41B2-1BCD-24F21CA4AD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CB60222-1EF5-A7BC-A24F-99FCD95E84A7}"/>
              </a:ext>
            </a:extLst>
          </p:cNvPr>
          <p:cNvSpPr/>
          <p:nvPr/>
        </p:nvSpPr>
        <p:spPr>
          <a:xfrm>
            <a:off x="5953965" y="4384130"/>
            <a:ext cx="5604788" cy="92773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4212563-6E48-7AC5-9166-82706A39A11D}"/>
              </a:ext>
            </a:extLst>
          </p:cNvPr>
          <p:cNvSpPr/>
          <p:nvPr/>
        </p:nvSpPr>
        <p:spPr>
          <a:xfrm>
            <a:off x="4628458" y="3069250"/>
            <a:ext cx="5740592" cy="75895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8E33BED-8499-AF6E-2525-116F7E1E8C0C}"/>
              </a:ext>
            </a:extLst>
          </p:cNvPr>
          <p:cNvSpPr/>
          <p:nvPr/>
        </p:nvSpPr>
        <p:spPr>
          <a:xfrm>
            <a:off x="3850263" y="1893970"/>
            <a:ext cx="5144839" cy="75895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arla" pitchFamily="2" charset="0"/>
            </a:endParaRPr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C1CCDD6-5D64-D926-CBAF-180F144AB6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1CCDD6-5D64-D926-CBAF-180F144AB6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41572E3-B15E-03C0-E6CA-8791485D3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9005" y="718481"/>
            <a:ext cx="10944000" cy="389572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Performance is considered across multiple levels to drive quality without losing site of detail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FE4A8BC0-3C43-0123-F4CB-75CF9138FE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70794" y="6224780"/>
            <a:ext cx="29182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468F59-FBD9-984E-A98E-5BC215B8991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Karla" pitchFamily="2" charset="0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Karla" pitchFamily="2" charset="0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421E629-12B5-B35B-58F8-F39D7C74AF57}"/>
              </a:ext>
            </a:extLst>
          </p:cNvPr>
          <p:cNvSpPr txBox="1"/>
          <p:nvPr/>
        </p:nvSpPr>
        <p:spPr>
          <a:xfrm>
            <a:off x="6761005" y="4478664"/>
            <a:ext cx="466009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Karla" pitchFamily="2" charset="0"/>
              </a:rPr>
              <a:t>The broader set of indicators that comprise a ‘whole of contract’ data specification. One integrated and joined up data set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6EF19F4-7B7C-F707-03F9-557A438AAF10}"/>
              </a:ext>
            </a:extLst>
          </p:cNvPr>
          <p:cNvSpPr txBox="1"/>
          <p:nvPr/>
        </p:nvSpPr>
        <p:spPr>
          <a:xfrm>
            <a:off x="5600404" y="3197534"/>
            <a:ext cx="53389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Karla" pitchFamily="2" charset="0"/>
              </a:rPr>
              <a:t>The </a:t>
            </a:r>
            <a:r>
              <a:rPr lang="en-AU" sz="1400">
                <a:solidFill>
                  <a:srgbClr val="3E3E3E"/>
                </a:solidFill>
                <a:latin typeface="Karla" pitchFamily="2" charset="0"/>
              </a:rPr>
              <a:t>core set of </a:t>
            </a:r>
            <a:r>
              <a:rPr kumimoji="0" lang="en-AU" sz="1400" b="0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Karla" pitchFamily="2" charset="0"/>
              </a:rPr>
              <a:t>KPIs (~12) that underpin key contractual obligations and base payments.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F14505C7-9BC9-76C4-AB05-8180FC95931A}"/>
              </a:ext>
            </a:extLst>
          </p:cNvPr>
          <p:cNvSpPr/>
          <p:nvPr/>
        </p:nvSpPr>
        <p:spPr>
          <a:xfrm>
            <a:off x="2931426" y="2034038"/>
            <a:ext cx="1243798" cy="75895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Payment KPIs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3DB31A9-3562-6258-121E-D52256FA7B0D}"/>
              </a:ext>
            </a:extLst>
          </p:cNvPr>
          <p:cNvSpPr/>
          <p:nvPr/>
        </p:nvSpPr>
        <p:spPr>
          <a:xfrm>
            <a:off x="2794077" y="3052800"/>
            <a:ext cx="1668278" cy="75895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Key Performance Indicators (&amp; Deliverables) 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C60E6C0-15ED-2C33-0A40-1A096C2C48FC}"/>
              </a:ext>
            </a:extLst>
          </p:cNvPr>
          <p:cNvSpPr/>
          <p:nvPr/>
        </p:nvSpPr>
        <p:spPr>
          <a:xfrm>
            <a:off x="2794077" y="4464727"/>
            <a:ext cx="1668278" cy="75895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b="1">
                <a:solidFill>
                  <a:srgbClr val="FFFFFF"/>
                </a:solidFill>
                <a:latin typeface="Karla" pitchFamily="2" charset="0"/>
              </a:rPr>
              <a:t>Data requirements</a:t>
            </a:r>
            <a:endParaRPr kumimoji="0" lang="en-AU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arla" pitchFamily="2" charset="0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DB2874C-E198-C2AD-EF3F-D0795D3319EC}"/>
              </a:ext>
            </a:extLst>
          </p:cNvPr>
          <p:cNvSpPr txBox="1"/>
          <p:nvPr/>
        </p:nvSpPr>
        <p:spPr>
          <a:xfrm>
            <a:off x="4808880" y="2013134"/>
            <a:ext cx="41204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The small set of KPIs (5) that will trigger award of activity and outcome payments.</a:t>
            </a:r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AF2BDF1E-0889-4A40-F640-31F418A7C0D9}"/>
              </a:ext>
            </a:extLst>
          </p:cNvPr>
          <p:cNvGraphicFramePr/>
          <p:nvPr/>
        </p:nvGraphicFramePr>
        <p:xfrm>
          <a:off x="544584" y="1307992"/>
          <a:ext cx="6453457" cy="43023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92D4A5D8-F090-FB4A-0664-8668F63CC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23537" y="6221580"/>
            <a:ext cx="4114800" cy="365125"/>
          </a:xfrm>
        </p:spPr>
        <p:txBody>
          <a:bodyPr/>
          <a:lstStyle/>
          <a:p>
            <a:r>
              <a:rPr lang="en-US"/>
              <a:t>Unified program briefing</a:t>
            </a:r>
          </a:p>
        </p:txBody>
      </p:sp>
    </p:spTree>
    <p:extLst>
      <p:ext uri="{BB962C8B-B14F-4D97-AF65-F5344CB8AC3E}">
        <p14:creationId xmlns:p14="http://schemas.microsoft.com/office/powerpoint/2010/main" val="92434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99E13B-7780-2C7B-81C1-ED31AF9AA0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676935D-ECB4-B957-E410-7AD1EBC125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76935D-ECB4-B957-E410-7AD1EBC125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64EA3C3-6616-0F3D-BBAE-FA2A76F087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1884" y="740080"/>
            <a:ext cx="10872000" cy="389572"/>
          </a:xfrm>
        </p:spPr>
        <p:txBody>
          <a:bodyPr vert="horz">
            <a:normAutofit fontScale="90000"/>
          </a:bodyPr>
          <a:lstStyle/>
          <a:p>
            <a:r>
              <a:rPr lang="en-US"/>
              <a:t>Payment and KPI structures drive greater efficiency and effectiveness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1AB66C3C-5F02-404C-AF67-239AAC88D0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70794" y="6224780"/>
            <a:ext cx="29182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468F59-FBD9-984E-A98E-5BC215B8991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Karla" pitchFamily="2" charset="0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Karla" pitchFamily="2" charset="0"/>
              <a:cs typeface="+mn-cs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FC96A24-BD7A-E353-8659-E1AD2D1C789D}"/>
              </a:ext>
            </a:extLst>
          </p:cNvPr>
          <p:cNvSpPr/>
          <p:nvPr/>
        </p:nvSpPr>
        <p:spPr>
          <a:xfrm>
            <a:off x="1862886" y="2318721"/>
            <a:ext cx="3728014" cy="847725"/>
          </a:xfrm>
          <a:prstGeom prst="roundRect">
            <a:avLst>
              <a:gd name="adj" fmla="val 26779"/>
            </a:avLst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Activity payment (10% Yr 1, 20% Yr 2, 30% Yr 3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Payable quarterly on Activity KPI performance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78F7BDE-1131-257F-BF98-C2BAA723AE9B}"/>
              </a:ext>
            </a:extLst>
          </p:cNvPr>
          <p:cNvSpPr/>
          <p:nvPr/>
        </p:nvSpPr>
        <p:spPr>
          <a:xfrm>
            <a:off x="6601100" y="2318721"/>
            <a:ext cx="3728014" cy="847725"/>
          </a:xfrm>
          <a:prstGeom prst="roundRect">
            <a:avLst>
              <a:gd name="adj" fmla="val 22285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(Bonus) </a:t>
            </a: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Outcome payment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 </a:t>
            </a: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(5% Yr 2, 10% Yr 3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Payable annually (retrospectively) on Outcome KPI performance, for innovation</a:t>
            </a:r>
            <a:endParaRPr kumimoji="0" lang="en-AU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arla" pitchFamily="2" charset="0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F4B5493-97FC-65D2-C1E8-2A23D6309CDC}"/>
              </a:ext>
            </a:extLst>
          </p:cNvPr>
          <p:cNvGrpSpPr/>
          <p:nvPr/>
        </p:nvGrpSpPr>
        <p:grpSpPr>
          <a:xfrm>
            <a:off x="1952723" y="3157511"/>
            <a:ext cx="3548341" cy="2607983"/>
            <a:chOff x="2058347" y="3157511"/>
            <a:chExt cx="3548341" cy="2607983"/>
          </a:xfrm>
        </p:grpSpPr>
        <p:sp>
          <p:nvSpPr>
            <p:cNvPr id="27" name="Arrow: Up 26">
              <a:extLst>
                <a:ext uri="{FF2B5EF4-FFF2-40B4-BE49-F238E27FC236}">
                  <a16:creationId xmlns:a16="http://schemas.microsoft.com/office/drawing/2014/main" id="{C34F1284-FE91-E77E-F145-EADD3BBE0168}"/>
                </a:ext>
              </a:extLst>
            </p:cNvPr>
            <p:cNvSpPr/>
            <p:nvPr/>
          </p:nvSpPr>
          <p:spPr>
            <a:xfrm>
              <a:off x="2475158" y="3157531"/>
              <a:ext cx="491157" cy="1349341"/>
            </a:xfrm>
            <a:prstGeom prst="upArrow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Arrow: Up 27">
              <a:extLst>
                <a:ext uri="{FF2B5EF4-FFF2-40B4-BE49-F238E27FC236}">
                  <a16:creationId xmlns:a16="http://schemas.microsoft.com/office/drawing/2014/main" id="{D035BE67-82B6-0FA1-4DA4-BE1E26087B0F}"/>
                </a:ext>
              </a:extLst>
            </p:cNvPr>
            <p:cNvSpPr/>
            <p:nvPr/>
          </p:nvSpPr>
          <p:spPr>
            <a:xfrm>
              <a:off x="4709637" y="3157511"/>
              <a:ext cx="491156" cy="1366765"/>
            </a:xfrm>
            <a:prstGeom prst="upArrow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84519A1E-F0A3-7047-16C3-07B9D648C0EA}"/>
                </a:ext>
              </a:extLst>
            </p:cNvPr>
            <p:cNvSpPr/>
            <p:nvPr/>
          </p:nvSpPr>
          <p:spPr>
            <a:xfrm>
              <a:off x="2058347" y="4397494"/>
              <a:ext cx="1288036" cy="1368000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Karla" pitchFamily="2" charset="0"/>
                  <a:ea typeface="+mn-ea"/>
                  <a:cs typeface="+mn-cs"/>
                </a:rPr>
                <a:t>% consumer related hours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30AF1753-9F91-7680-B52F-3F7539FED6BD}"/>
                </a:ext>
              </a:extLst>
            </p:cNvPr>
            <p:cNvSpPr/>
            <p:nvPr/>
          </p:nvSpPr>
          <p:spPr>
            <a:xfrm>
              <a:off x="4318652" y="4397494"/>
              <a:ext cx="1288036" cy="1368000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Karla" pitchFamily="2" charset="0"/>
                  <a:ea typeface="+mn-ea"/>
                  <a:cs typeface="+mn-cs"/>
                </a:rPr>
                <a:t>% of consumers from priority populations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64DAD5B-8F42-87F5-C6C6-CA2847B09D56}"/>
                </a:ext>
              </a:extLst>
            </p:cNvPr>
            <p:cNvSpPr txBox="1"/>
            <p:nvPr/>
          </p:nvSpPr>
          <p:spPr>
            <a:xfrm rot="16200000">
              <a:off x="2081286" y="3660066"/>
              <a:ext cx="124835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100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Karla" pitchFamily="2" charset="0"/>
                  <a:ea typeface="Karla" pitchFamily="2" charset="0"/>
                </a:rPr>
                <a:t>80% of payment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8E25B97-35B3-3B7B-75D0-5DEE0E85C2AC}"/>
                </a:ext>
              </a:extLst>
            </p:cNvPr>
            <p:cNvSpPr txBox="1"/>
            <p:nvPr/>
          </p:nvSpPr>
          <p:spPr>
            <a:xfrm rot="16200000">
              <a:off x="4339662" y="3655371"/>
              <a:ext cx="123896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100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Karla" pitchFamily="2" charset="0"/>
                  <a:ea typeface="Karla" pitchFamily="2" charset="0"/>
                </a:rPr>
                <a:t>20% of payment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2A0DB2C-28C4-ABD2-C03C-FF6B69A7FDBF}"/>
              </a:ext>
            </a:extLst>
          </p:cNvPr>
          <p:cNvGrpSpPr/>
          <p:nvPr/>
        </p:nvGrpSpPr>
        <p:grpSpPr>
          <a:xfrm>
            <a:off x="6687884" y="3169316"/>
            <a:ext cx="3554447" cy="2596178"/>
            <a:chOff x="6905956" y="3169316"/>
            <a:chExt cx="3554447" cy="2596178"/>
          </a:xfrm>
        </p:grpSpPr>
        <p:sp>
          <p:nvSpPr>
            <p:cNvPr id="9" name="Arrow: Up 8">
              <a:extLst>
                <a:ext uri="{FF2B5EF4-FFF2-40B4-BE49-F238E27FC236}">
                  <a16:creationId xmlns:a16="http://schemas.microsoft.com/office/drawing/2014/main" id="{03792720-1D36-C0F1-CD83-838984784A4E}"/>
                </a:ext>
              </a:extLst>
            </p:cNvPr>
            <p:cNvSpPr/>
            <p:nvPr/>
          </p:nvSpPr>
          <p:spPr>
            <a:xfrm>
              <a:off x="7296941" y="3169316"/>
              <a:ext cx="491157" cy="1349341"/>
            </a:xfrm>
            <a:prstGeom prst="upArrow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Arrow: Up 15">
              <a:extLst>
                <a:ext uri="{FF2B5EF4-FFF2-40B4-BE49-F238E27FC236}">
                  <a16:creationId xmlns:a16="http://schemas.microsoft.com/office/drawing/2014/main" id="{CA6FBA3C-930B-F77B-945A-3177CE38A2B0}"/>
                </a:ext>
              </a:extLst>
            </p:cNvPr>
            <p:cNvSpPr/>
            <p:nvPr/>
          </p:nvSpPr>
          <p:spPr>
            <a:xfrm>
              <a:off x="9543688" y="3169316"/>
              <a:ext cx="491156" cy="1366765"/>
            </a:xfrm>
            <a:prstGeom prst="upArrow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5FFDD8C1-E399-DAA1-D713-064E39FFED1F}"/>
                </a:ext>
              </a:extLst>
            </p:cNvPr>
            <p:cNvSpPr/>
            <p:nvPr/>
          </p:nvSpPr>
          <p:spPr>
            <a:xfrm>
              <a:off x="6905956" y="4398729"/>
              <a:ext cx="1288037" cy="1366765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Karla" pitchFamily="2" charset="0"/>
                  <a:ea typeface="+mn-ea"/>
                  <a:cs typeface="+mn-cs"/>
                </a:rPr>
                <a:t>% of consumers with paired outcome measures complete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BCBAF54-3687-CE6C-AE3B-7715B424AD2E}"/>
                </a:ext>
              </a:extLst>
            </p:cNvPr>
            <p:cNvSpPr txBox="1"/>
            <p:nvPr/>
          </p:nvSpPr>
          <p:spPr>
            <a:xfrm rot="16200000">
              <a:off x="6904621" y="3703006"/>
              <a:ext cx="124835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100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Karla" pitchFamily="2" charset="0"/>
                  <a:ea typeface="Karla" pitchFamily="2" charset="0"/>
                </a:rPr>
                <a:t> 50% of payment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6E7CD82-382C-8E4B-6B21-BFC107DA1DCD}"/>
                </a:ext>
              </a:extLst>
            </p:cNvPr>
            <p:cNvSpPr txBox="1"/>
            <p:nvPr/>
          </p:nvSpPr>
          <p:spPr>
            <a:xfrm rot="16200000">
              <a:off x="9167550" y="3703006"/>
              <a:ext cx="124835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100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Karla" pitchFamily="2" charset="0"/>
                  <a:ea typeface="Karla" pitchFamily="2" charset="0"/>
                </a:rPr>
                <a:t>50% of payment</a:t>
              </a: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0334C84E-17C5-7E26-0DE9-66915544449A}"/>
                </a:ext>
              </a:extLst>
            </p:cNvPr>
            <p:cNvSpPr/>
            <p:nvPr/>
          </p:nvSpPr>
          <p:spPr>
            <a:xfrm>
              <a:off x="9172366" y="4398728"/>
              <a:ext cx="1288037" cy="1366766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Karla" pitchFamily="2" charset="0"/>
                  <a:ea typeface="+mn-ea"/>
                  <a:cs typeface="+mn-cs"/>
                </a:rPr>
                <a:t>% of consumers demonstrating improvement/ significant improvements in outcomes</a:t>
              </a: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B47D0663-B9F8-DEBA-862D-68356280CCA7}"/>
              </a:ext>
            </a:extLst>
          </p:cNvPr>
          <p:cNvSpPr/>
          <p:nvPr/>
        </p:nvSpPr>
        <p:spPr>
          <a:xfrm>
            <a:off x="3318331" y="2437185"/>
            <a:ext cx="2244585" cy="305398"/>
          </a:xfrm>
          <a:prstGeom prst="rect">
            <a:avLst/>
          </a:prstGeom>
          <a:solidFill>
            <a:srgbClr val="6DAF7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D5CFBB3-5989-5E0A-7455-9AF6B6C8F515}"/>
              </a:ext>
            </a:extLst>
          </p:cNvPr>
          <p:cNvSpPr/>
          <p:nvPr/>
        </p:nvSpPr>
        <p:spPr>
          <a:xfrm>
            <a:off x="3880752" y="3190084"/>
            <a:ext cx="1945532" cy="29082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BF4AF25-FA4F-EFE6-9BD6-0C261F4C6341}"/>
              </a:ext>
            </a:extLst>
          </p:cNvPr>
          <p:cNvSpPr/>
          <p:nvPr/>
        </p:nvSpPr>
        <p:spPr>
          <a:xfrm>
            <a:off x="892188" y="2318721"/>
            <a:ext cx="5082619" cy="39873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CC12F1B-FBA4-CE90-9F70-4E39475C43C6}"/>
              </a:ext>
            </a:extLst>
          </p:cNvPr>
          <p:cNvSpPr/>
          <p:nvPr/>
        </p:nvSpPr>
        <p:spPr>
          <a:xfrm>
            <a:off x="8352850" y="3190084"/>
            <a:ext cx="1945532" cy="29082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BA206C7-B9FB-4C32-CB63-6245CF09FE45}"/>
              </a:ext>
            </a:extLst>
          </p:cNvPr>
          <p:cNvSpPr/>
          <p:nvPr/>
        </p:nvSpPr>
        <p:spPr>
          <a:xfrm>
            <a:off x="5562916" y="2318721"/>
            <a:ext cx="5082619" cy="39873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E9470CAB-7650-6919-C583-4F3CFB4042C3}"/>
              </a:ext>
            </a:extLst>
          </p:cNvPr>
          <p:cNvSpPr/>
          <p:nvPr/>
        </p:nvSpPr>
        <p:spPr>
          <a:xfrm>
            <a:off x="1862886" y="1421774"/>
            <a:ext cx="8466228" cy="792000"/>
          </a:xfrm>
          <a:prstGeom prst="roundRect">
            <a:avLst>
              <a:gd name="adj" fmla="val 26779"/>
            </a:avLst>
          </a:prstGeom>
          <a:solidFill>
            <a:schemeClr val="tx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Base payment (90% Yr 1, </a:t>
            </a:r>
            <a:r>
              <a:rPr lang="en-AU" sz="1400" b="1" dirty="0">
                <a:solidFill>
                  <a:srgbClr val="FFFFFF"/>
                </a:solidFill>
                <a:latin typeface="Karla" pitchFamily="2" charset="0"/>
              </a:rPr>
              <a:t>75</a:t>
            </a: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% Yr 2, 60% Yr 3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Payable on receipt of deliverables, assuming acceptable performance on base KPI’s</a:t>
            </a:r>
          </a:p>
        </p:txBody>
      </p:sp>
    </p:spTree>
    <p:extLst>
      <p:ext uri="{BB962C8B-B14F-4D97-AF65-F5344CB8AC3E}">
        <p14:creationId xmlns:p14="http://schemas.microsoft.com/office/powerpoint/2010/main" val="3080100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5" grpId="0" animBg="1"/>
      <p:bldP spid="17" grpId="0" animBg="1"/>
      <p:bldP spid="21" grpId="0" animBg="1"/>
      <p:bldP spid="2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A81CA6-2ED8-E153-7CC1-F592FDF2CC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CB60023-16EF-2504-A6D4-78E51052DE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B60023-16EF-2504-A6D4-78E51052DE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69EE5204-2021-383B-15C8-C791356B95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3890" y="710425"/>
            <a:ext cx="10692000" cy="389572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Payment mechanisms will shift over time as the system in Eastern Melbourne establishes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E4354433-A538-17BC-1B18-F3385264B5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70794" y="6224780"/>
            <a:ext cx="29182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468F59-FBD9-984E-A98E-5BC215B8991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Karla" pitchFamily="2" charset="0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Karla" pitchFamily="2" charset="0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D9B553A-4DEB-D0A3-F36C-3AD0DDCBB770}"/>
              </a:ext>
            </a:extLst>
          </p:cNvPr>
          <p:cNvSpPr/>
          <p:nvPr/>
        </p:nvSpPr>
        <p:spPr>
          <a:xfrm>
            <a:off x="7173520" y="3122790"/>
            <a:ext cx="824717" cy="248130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C0606CD-25BF-BCAE-392B-A196DBD2CC89}"/>
              </a:ext>
            </a:extLst>
          </p:cNvPr>
          <p:cNvSpPr/>
          <p:nvPr/>
        </p:nvSpPr>
        <p:spPr>
          <a:xfrm>
            <a:off x="3065822" y="3113606"/>
            <a:ext cx="820160" cy="249779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59F38E5-A744-6641-8C41-758547D202FA}"/>
              </a:ext>
            </a:extLst>
          </p:cNvPr>
          <p:cNvSpPr/>
          <p:nvPr/>
        </p:nvSpPr>
        <p:spPr>
          <a:xfrm>
            <a:off x="5117590" y="3122790"/>
            <a:ext cx="824717" cy="248130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4D228C-0BD7-0229-8D72-BE2C2D39BE22}"/>
              </a:ext>
            </a:extLst>
          </p:cNvPr>
          <p:cNvSpPr/>
          <p:nvPr/>
        </p:nvSpPr>
        <p:spPr>
          <a:xfrm>
            <a:off x="3066309" y="2922191"/>
            <a:ext cx="819186" cy="20550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F04C0DC-937D-4701-7EF5-5CD307CD2E30}"/>
              </a:ext>
            </a:extLst>
          </p:cNvPr>
          <p:cNvSpPr/>
          <p:nvPr/>
        </p:nvSpPr>
        <p:spPr>
          <a:xfrm>
            <a:off x="7173520" y="3121643"/>
            <a:ext cx="824718" cy="4706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732E0E4-E858-9218-99E4-5318FE6B4C76}"/>
              </a:ext>
            </a:extLst>
          </p:cNvPr>
          <p:cNvSpPr/>
          <p:nvPr/>
        </p:nvSpPr>
        <p:spPr>
          <a:xfrm>
            <a:off x="7173519" y="2719617"/>
            <a:ext cx="824719" cy="2064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C8C4459-D984-9E77-D357-5835E54E21BA}"/>
              </a:ext>
            </a:extLst>
          </p:cNvPr>
          <p:cNvSpPr/>
          <p:nvPr/>
        </p:nvSpPr>
        <p:spPr>
          <a:xfrm>
            <a:off x="5117194" y="2922190"/>
            <a:ext cx="824718" cy="4244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D94ECFB-C95A-679E-2B8D-002E563A2020}"/>
              </a:ext>
            </a:extLst>
          </p:cNvPr>
          <p:cNvCxnSpPr>
            <a:cxnSpLocks/>
          </p:cNvCxnSpPr>
          <p:nvPr/>
        </p:nvCxnSpPr>
        <p:spPr>
          <a:xfrm>
            <a:off x="2003238" y="2263728"/>
            <a:ext cx="0" cy="3347671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FEE02A7-4C9E-989D-9817-7CD23ED0C87F}"/>
              </a:ext>
            </a:extLst>
          </p:cNvPr>
          <p:cNvCxnSpPr>
            <a:cxnSpLocks/>
          </p:cNvCxnSpPr>
          <p:nvPr/>
        </p:nvCxnSpPr>
        <p:spPr>
          <a:xfrm flipH="1">
            <a:off x="2003238" y="5611399"/>
            <a:ext cx="6490908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5AC54445-6360-82C1-CCD4-DE302E6E22EB}"/>
              </a:ext>
            </a:extLst>
          </p:cNvPr>
          <p:cNvSpPr/>
          <p:nvPr/>
        </p:nvSpPr>
        <p:spPr>
          <a:xfrm>
            <a:off x="3065822" y="2719619"/>
            <a:ext cx="820160" cy="20648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59BF9B4-463A-9EB0-FE3B-A8A3624C805F}"/>
              </a:ext>
            </a:extLst>
          </p:cNvPr>
          <p:cNvSpPr/>
          <p:nvPr/>
        </p:nvSpPr>
        <p:spPr>
          <a:xfrm>
            <a:off x="5117192" y="2807502"/>
            <a:ext cx="824719" cy="1186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FC9E917-71BE-A560-31E4-3C0925A14B91}"/>
              </a:ext>
            </a:extLst>
          </p:cNvPr>
          <p:cNvSpPr txBox="1"/>
          <p:nvPr/>
        </p:nvSpPr>
        <p:spPr>
          <a:xfrm>
            <a:off x="2958063" y="5742852"/>
            <a:ext cx="10334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>
                <a:ln>
                  <a:noFill/>
                </a:ln>
                <a:solidFill>
                  <a:srgbClr val="ECECEC">
                    <a:lumMod val="50000"/>
                  </a:srgbClr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Year 1 – FY 27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4834C29-42B2-83D1-D72F-3A60FC32EF07}"/>
              </a:ext>
            </a:extLst>
          </p:cNvPr>
          <p:cNvSpPr txBox="1"/>
          <p:nvPr/>
        </p:nvSpPr>
        <p:spPr>
          <a:xfrm>
            <a:off x="5028180" y="5742852"/>
            <a:ext cx="10334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>
                <a:ln>
                  <a:noFill/>
                </a:ln>
                <a:solidFill>
                  <a:srgbClr val="ECECEC">
                    <a:lumMod val="50000"/>
                  </a:srgbClr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Year 2 – FY 28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DAEA4C7-0F08-6978-D463-1B4FF4F6547A}"/>
              </a:ext>
            </a:extLst>
          </p:cNvPr>
          <p:cNvSpPr txBox="1"/>
          <p:nvPr/>
        </p:nvSpPr>
        <p:spPr>
          <a:xfrm>
            <a:off x="7098298" y="5742852"/>
            <a:ext cx="10334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>
                <a:ln>
                  <a:noFill/>
                </a:ln>
                <a:solidFill>
                  <a:srgbClr val="ECECEC">
                    <a:lumMod val="50000"/>
                  </a:srgbClr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Year 3 – FY 29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0529FC6-D2F7-EDC1-B8F3-DE59A2F714BA}"/>
              </a:ext>
            </a:extLst>
          </p:cNvPr>
          <p:cNvSpPr txBox="1"/>
          <p:nvPr/>
        </p:nvSpPr>
        <p:spPr>
          <a:xfrm>
            <a:off x="2044267" y="3331615"/>
            <a:ext cx="8951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00" b="1">
                <a:solidFill>
                  <a:srgbClr val="032C4F"/>
                </a:solidFill>
                <a:latin typeface="Karla" pitchFamily="2" charset="0"/>
              </a:rPr>
              <a:t>Base</a:t>
            </a:r>
            <a:r>
              <a:rPr kumimoji="0" lang="en-AU" sz="1000" b="1" i="0" u="none" strike="noStrike" kern="1200" cap="none" spc="0" normalizeH="0" baseline="0" noProof="0">
                <a:ln>
                  <a:noFill/>
                </a:ln>
                <a:solidFill>
                  <a:srgbClr val="032C4F"/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 funding</a:t>
            </a:r>
          </a:p>
        </p:txBody>
      </p:sp>
      <p:cxnSp>
        <p:nvCxnSpPr>
          <p:cNvPr id="22" name="Connector: Elbow 36">
            <a:extLst>
              <a:ext uri="{FF2B5EF4-FFF2-40B4-BE49-F238E27FC236}">
                <a16:creationId xmlns:a16="http://schemas.microsoft.com/office/drawing/2014/main" id="{D1D97C6E-A6DD-DE0D-4331-B2CC7299D826}"/>
              </a:ext>
            </a:extLst>
          </p:cNvPr>
          <p:cNvCxnSpPr>
            <a:cxnSpLocks/>
          </p:cNvCxnSpPr>
          <p:nvPr/>
        </p:nvCxnSpPr>
        <p:spPr>
          <a:xfrm rot="16200000" flipH="1">
            <a:off x="2528783" y="3691102"/>
            <a:ext cx="462700" cy="536563"/>
          </a:xfrm>
          <a:prstGeom prst="curvedConnector2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99041B05-0CD5-2964-C907-5412C8546180}"/>
              </a:ext>
            </a:extLst>
          </p:cNvPr>
          <p:cNvSpPr txBox="1"/>
          <p:nvPr/>
        </p:nvSpPr>
        <p:spPr>
          <a:xfrm>
            <a:off x="2156837" y="1801181"/>
            <a:ext cx="109561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>
                <a:ln>
                  <a:noFill/>
                </a:ln>
                <a:solidFill>
                  <a:srgbClr val="B288B9"/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Establishment and transition funding to support Y1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7AE03C8-D4E7-4583-52B5-17B75619481D}"/>
              </a:ext>
            </a:extLst>
          </p:cNvPr>
          <p:cNvSpPr txBox="1"/>
          <p:nvPr/>
        </p:nvSpPr>
        <p:spPr>
          <a:xfrm>
            <a:off x="543524" y="3228781"/>
            <a:ext cx="10654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>
                <a:ln>
                  <a:noFill/>
                </a:ln>
                <a:solidFill>
                  <a:srgbClr val="ECECEC">
                    <a:lumMod val="50000"/>
                  </a:srgbClr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Total activity funding</a:t>
            </a:r>
          </a:p>
        </p:txBody>
      </p:sp>
      <p:cxnSp>
        <p:nvCxnSpPr>
          <p:cNvPr id="27" name="Connector: Elbow 42">
            <a:extLst>
              <a:ext uri="{FF2B5EF4-FFF2-40B4-BE49-F238E27FC236}">
                <a16:creationId xmlns:a16="http://schemas.microsoft.com/office/drawing/2014/main" id="{A9B22906-4887-00FA-49E8-66CC1D02DD0D}"/>
              </a:ext>
            </a:extLst>
          </p:cNvPr>
          <p:cNvCxnSpPr>
            <a:cxnSpLocks/>
          </p:cNvCxnSpPr>
          <p:nvPr/>
        </p:nvCxnSpPr>
        <p:spPr>
          <a:xfrm>
            <a:off x="3207306" y="2133095"/>
            <a:ext cx="257544" cy="544000"/>
          </a:xfrm>
          <a:prstGeom prst="curvedConnector2">
            <a:avLst/>
          </a:prstGeom>
          <a:ln w="190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B7DCF668-595A-D0EC-B0DC-FB0CAB1483DC}"/>
              </a:ext>
            </a:extLst>
          </p:cNvPr>
          <p:cNvSpPr txBox="1"/>
          <p:nvPr/>
        </p:nvSpPr>
        <p:spPr>
          <a:xfrm>
            <a:off x="3709749" y="1403943"/>
            <a:ext cx="153760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>
                <a:ln>
                  <a:noFill/>
                </a:ln>
                <a:solidFill>
                  <a:srgbClr val="54C1AD"/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Innovation bonus payable in Y2, dependent on achievement of Y1 outcome targets</a:t>
            </a:r>
          </a:p>
        </p:txBody>
      </p:sp>
      <p:cxnSp>
        <p:nvCxnSpPr>
          <p:cNvPr id="29" name="Connector: Elbow 50">
            <a:extLst>
              <a:ext uri="{FF2B5EF4-FFF2-40B4-BE49-F238E27FC236}">
                <a16:creationId xmlns:a16="http://schemas.microsoft.com/office/drawing/2014/main" id="{C5FFC952-3266-ABFC-EC2A-0214351786FB}"/>
              </a:ext>
            </a:extLst>
          </p:cNvPr>
          <p:cNvCxnSpPr>
            <a:cxnSpLocks/>
          </p:cNvCxnSpPr>
          <p:nvPr/>
        </p:nvCxnSpPr>
        <p:spPr>
          <a:xfrm>
            <a:off x="5247357" y="1696331"/>
            <a:ext cx="288054" cy="980763"/>
          </a:xfrm>
          <a:prstGeom prst="curvedConnector2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59">
            <a:extLst>
              <a:ext uri="{FF2B5EF4-FFF2-40B4-BE49-F238E27FC236}">
                <a16:creationId xmlns:a16="http://schemas.microsoft.com/office/drawing/2014/main" id="{A50F23B9-B607-118F-6689-1D071B1F2C47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1353576" y="2643874"/>
            <a:ext cx="307575" cy="862239"/>
          </a:xfrm>
          <a:prstGeom prst="curvedConnector2">
            <a:avLst/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053C05F3-1F1D-3063-0C49-A9812B3737DE}"/>
              </a:ext>
            </a:extLst>
          </p:cNvPr>
          <p:cNvSpPr txBox="1"/>
          <p:nvPr/>
        </p:nvSpPr>
        <p:spPr>
          <a:xfrm>
            <a:off x="5788936" y="1433281"/>
            <a:ext cx="153760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>
                <a:ln>
                  <a:noFill/>
                </a:ln>
                <a:solidFill>
                  <a:srgbClr val="54C1AD"/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Innovation bonus payable in Y3, dependent on achievement of Y2 outcome targets</a:t>
            </a:r>
          </a:p>
        </p:txBody>
      </p:sp>
      <p:cxnSp>
        <p:nvCxnSpPr>
          <p:cNvPr id="33" name="Connector: Elbow 65">
            <a:extLst>
              <a:ext uri="{FF2B5EF4-FFF2-40B4-BE49-F238E27FC236}">
                <a16:creationId xmlns:a16="http://schemas.microsoft.com/office/drawing/2014/main" id="{1C5EC5F5-155B-C04E-7886-C6F2E323BDF9}"/>
              </a:ext>
            </a:extLst>
          </p:cNvPr>
          <p:cNvCxnSpPr>
            <a:cxnSpLocks/>
          </p:cNvCxnSpPr>
          <p:nvPr/>
        </p:nvCxnSpPr>
        <p:spPr>
          <a:xfrm>
            <a:off x="7326544" y="1725669"/>
            <a:ext cx="279427" cy="943978"/>
          </a:xfrm>
          <a:prstGeom prst="curvedConnector2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4986B427-2BA1-0691-CAA6-10068A633DEE}"/>
              </a:ext>
            </a:extLst>
          </p:cNvPr>
          <p:cNvSpPr txBox="1"/>
          <p:nvPr/>
        </p:nvSpPr>
        <p:spPr>
          <a:xfrm>
            <a:off x="5962255" y="3673508"/>
            <a:ext cx="123160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AU" sz="1000" b="1">
                <a:solidFill>
                  <a:srgbClr val="F27589"/>
                </a:solidFill>
                <a:latin typeface="Karla" pitchFamily="2" charset="0"/>
              </a:rPr>
              <a:t>Proportion that is linked to activity targets*</a:t>
            </a:r>
          </a:p>
        </p:txBody>
      </p:sp>
      <p:cxnSp>
        <p:nvCxnSpPr>
          <p:cNvPr id="35" name="Connector: Elbow 67">
            <a:extLst>
              <a:ext uri="{FF2B5EF4-FFF2-40B4-BE49-F238E27FC236}">
                <a16:creationId xmlns:a16="http://schemas.microsoft.com/office/drawing/2014/main" id="{0CFCF7F4-FCA3-BA8A-5F6B-90A5686F3629}"/>
              </a:ext>
            </a:extLst>
          </p:cNvPr>
          <p:cNvCxnSpPr>
            <a:cxnSpLocks/>
          </p:cNvCxnSpPr>
          <p:nvPr/>
        </p:nvCxnSpPr>
        <p:spPr>
          <a:xfrm rot="16200000" flipV="1">
            <a:off x="5980274" y="3096040"/>
            <a:ext cx="539107" cy="615829"/>
          </a:xfrm>
          <a:prstGeom prst="curvedConnector2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C96D74FD-4AB1-5619-1A84-84C56BDA8E27}"/>
              </a:ext>
            </a:extLst>
          </p:cNvPr>
          <p:cNvSpPr txBox="1"/>
          <p:nvPr/>
        </p:nvSpPr>
        <p:spPr>
          <a:xfrm>
            <a:off x="8261945" y="3673508"/>
            <a:ext cx="143820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AU" sz="1000" b="1" dirty="0">
                <a:solidFill>
                  <a:srgbClr val="F27589"/>
                </a:solidFill>
                <a:latin typeface="Karla" pitchFamily="2" charset="0"/>
              </a:rPr>
              <a:t>Proportion that is linked to activity targets*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D117D72-C6AA-0904-9707-5FD03B18DBB8}"/>
              </a:ext>
            </a:extLst>
          </p:cNvPr>
          <p:cNvSpPr txBox="1"/>
          <p:nvPr/>
        </p:nvSpPr>
        <p:spPr>
          <a:xfrm>
            <a:off x="3911580" y="3673508"/>
            <a:ext cx="124035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en-AU" sz="1000" b="1" i="0" u="none" strike="noStrike" kern="1200" cap="none" spc="0" normalizeH="0" baseline="0" noProof="0">
                <a:ln>
                  <a:noFill/>
                </a:ln>
                <a:solidFill>
                  <a:srgbClr val="F27589"/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Proportion that </a:t>
            </a:r>
            <a:r>
              <a:rPr lang="en-AU" sz="1000" b="1">
                <a:solidFill>
                  <a:srgbClr val="F27589"/>
                </a:solidFill>
                <a:latin typeface="Karla" pitchFamily="2" charset="0"/>
              </a:rPr>
              <a:t>is linked to activity targets*</a:t>
            </a:r>
            <a:endParaRPr kumimoji="0" lang="en-AU" sz="1000" b="1" i="0" u="none" strike="noStrike" kern="1200" cap="none" spc="0" normalizeH="0" baseline="0" noProof="0">
              <a:ln>
                <a:noFill/>
              </a:ln>
              <a:solidFill>
                <a:srgbClr val="F27589"/>
              </a:solidFill>
              <a:effectLst/>
              <a:uLnTx/>
              <a:uFillTx/>
              <a:latin typeface="Karla" pitchFamily="2" charset="0"/>
              <a:ea typeface="+mn-ea"/>
              <a:cs typeface="+mn-cs"/>
            </a:endParaRPr>
          </a:p>
        </p:txBody>
      </p:sp>
      <p:cxnSp>
        <p:nvCxnSpPr>
          <p:cNvPr id="38" name="Connector: Elbow 90">
            <a:extLst>
              <a:ext uri="{FF2B5EF4-FFF2-40B4-BE49-F238E27FC236}">
                <a16:creationId xmlns:a16="http://schemas.microsoft.com/office/drawing/2014/main" id="{EE8B94BB-C316-8D47-0582-320B11BD472F}"/>
              </a:ext>
            </a:extLst>
          </p:cNvPr>
          <p:cNvCxnSpPr>
            <a:cxnSpLocks/>
          </p:cNvCxnSpPr>
          <p:nvPr/>
        </p:nvCxnSpPr>
        <p:spPr>
          <a:xfrm rot="16200000" flipV="1">
            <a:off x="8315427" y="3047112"/>
            <a:ext cx="346615" cy="906179"/>
          </a:xfrm>
          <a:prstGeom prst="curvedConnector2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93">
            <a:extLst>
              <a:ext uri="{FF2B5EF4-FFF2-40B4-BE49-F238E27FC236}">
                <a16:creationId xmlns:a16="http://schemas.microsoft.com/office/drawing/2014/main" id="{D6905A77-4C5F-EE55-19FF-7C72545F03A4}"/>
              </a:ext>
            </a:extLst>
          </p:cNvPr>
          <p:cNvCxnSpPr>
            <a:cxnSpLocks/>
          </p:cNvCxnSpPr>
          <p:nvPr/>
        </p:nvCxnSpPr>
        <p:spPr>
          <a:xfrm rot="16200000" flipV="1">
            <a:off x="3869347" y="3041092"/>
            <a:ext cx="648566" cy="616269"/>
          </a:xfrm>
          <a:prstGeom prst="curvedConnector2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B865869A-F81C-A9BA-D9CA-C8B64CAE4FD2}"/>
              </a:ext>
            </a:extLst>
          </p:cNvPr>
          <p:cNvSpPr txBox="1"/>
          <p:nvPr/>
        </p:nvSpPr>
        <p:spPr>
          <a:xfrm>
            <a:off x="8855189" y="1973439"/>
            <a:ext cx="208903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>
                <a:ln>
                  <a:noFill/>
                </a:ln>
                <a:solidFill>
                  <a:srgbClr val="3E3E3E"/>
                </a:solidFill>
                <a:effectLst/>
                <a:uLnTx/>
                <a:uFillTx/>
                <a:latin typeface="Karla" pitchFamily="2" charset="0"/>
                <a:ea typeface="+mn-ea"/>
                <a:cs typeface="+mn-cs"/>
              </a:rPr>
              <a:t>* Activity and outcome indicators and targets shift each year to reflect increasing service activity and demonstrated outcome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B3A5ED6-FD80-32D9-3FF3-332EFEB87A5C}"/>
              </a:ext>
            </a:extLst>
          </p:cNvPr>
          <p:cNvSpPr/>
          <p:nvPr/>
        </p:nvSpPr>
        <p:spPr>
          <a:xfrm>
            <a:off x="7173520" y="2927252"/>
            <a:ext cx="824717" cy="4193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EA15474-06FD-E63E-7727-1E890EB76555}"/>
              </a:ext>
            </a:extLst>
          </p:cNvPr>
          <p:cNvCxnSpPr>
            <a:cxnSpLocks/>
          </p:cNvCxnSpPr>
          <p:nvPr/>
        </p:nvCxnSpPr>
        <p:spPr>
          <a:xfrm flipH="1" flipV="1">
            <a:off x="2003238" y="2921205"/>
            <a:ext cx="6408891" cy="490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AC54C84F-B539-3014-582D-1A56F3923C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9285824">
            <a:off x="3521452" y="3196810"/>
            <a:ext cx="6523044" cy="1335047"/>
          </a:xfrm>
        </p:spPr>
        <p:txBody>
          <a:bodyPr/>
          <a:lstStyle/>
          <a:p>
            <a:r>
              <a:rPr lang="en-US" sz="4000" dirty="0">
                <a:solidFill>
                  <a:srgbClr val="C00000"/>
                </a:solidFill>
              </a:rPr>
              <a:t>EMPHN needs to change style of interaction with commissioned agenci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20D82BE-D14B-C82B-6AF2-4E1DC893D5B6}"/>
              </a:ext>
            </a:extLst>
          </p:cNvPr>
          <p:cNvSpPr txBox="1"/>
          <p:nvPr/>
        </p:nvSpPr>
        <p:spPr>
          <a:xfrm>
            <a:off x="6193523" y="6209411"/>
            <a:ext cx="614301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/>
            <a:r>
              <a:rPr lang="en-US" sz="900" dirty="0">
                <a:solidFill>
                  <a:srgbClr val="C00000"/>
                </a:solidFill>
                <a:latin typeface="Calibri" panose="020F0502020204030204" pitchFamily="34" charset="0"/>
              </a:rPr>
              <a:t>Wallo, Andreas, Lundqvist, Daniel, and Coetzer, Alan (2024), 'Learning-oriented leadership in organizations: An integrative review of qualitative studies', </a:t>
            </a:r>
            <a:r>
              <a:rPr lang="en-US" sz="900" i="1" dirty="0">
                <a:solidFill>
                  <a:srgbClr val="C00000"/>
                </a:solidFill>
                <a:latin typeface="Calibri" panose="020F0502020204030204" pitchFamily="34" charset="0"/>
              </a:rPr>
              <a:t>Human Resource Development Review, 23 (2), 230-75.</a:t>
            </a:r>
          </a:p>
          <a:p>
            <a:r>
              <a:rPr lang="en-US" sz="900" dirty="0">
                <a:solidFill>
                  <a:srgbClr val="C00000"/>
                </a:solidFill>
              </a:rPr>
              <a:t>Ahsan, Muhammad Junaid (2025), 'Cultivating a culture of learning: the role of leadership in fostering lifelong development', </a:t>
            </a:r>
            <a:r>
              <a:rPr lang="en-US" sz="900" i="1" dirty="0">
                <a:solidFill>
                  <a:srgbClr val="C00000"/>
                </a:solidFill>
              </a:rPr>
              <a:t>The Learning Organization: An International Journal, 32 (2), 282-306.</a:t>
            </a:r>
          </a:p>
          <a:p>
            <a:pPr marR="0"/>
            <a:endParaRPr lang="en-US" sz="1800" i="1" dirty="0">
              <a:solidFill>
                <a:srgbClr val="FFFF00"/>
              </a:solidFill>
              <a:latin typeface="Calibri" panose="020F0502020204030204" pitchFamily="34" charset="0"/>
            </a:endParaRPr>
          </a:p>
          <a:p>
            <a:pPr marR="0"/>
            <a:endParaRPr lang="en-US" i="1" dirty="0">
              <a:solidFill>
                <a:srgbClr val="FFFF00"/>
              </a:solidFill>
              <a:latin typeface="Calibri" panose="020F0502020204030204" pitchFamily="34" charset="0"/>
            </a:endParaRPr>
          </a:p>
          <a:p>
            <a:pPr marR="0"/>
            <a:endParaRPr lang="en-US" sz="1800" i="1" dirty="0">
              <a:solidFill>
                <a:srgbClr val="FFFF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6402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6332C-91EC-F64A-F448-5975AEDDF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8213" y="650709"/>
            <a:ext cx="8273465" cy="389572"/>
          </a:xfrm>
        </p:spPr>
        <p:txBody>
          <a:bodyPr/>
          <a:lstStyle/>
          <a:p>
            <a:r>
              <a:rPr lang="en-AU" dirty="0"/>
              <a:t>Theory of chan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10661E-7F2B-EAF8-84CE-2DBBD6AB47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68F59-FBD9-984E-A98E-5BC215B89919}" type="slidenum">
              <a:rPr lang="en-US" smtClean="0"/>
              <a:t>17</a:t>
            </a:fld>
            <a:endParaRPr lang="en-US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FCFAC4F3-97D3-C94D-03B8-719792EA1B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6333946"/>
              </p:ext>
            </p:extLst>
          </p:nvPr>
        </p:nvGraphicFramePr>
        <p:xfrm>
          <a:off x="2640323" y="89328"/>
          <a:ext cx="8196290" cy="40221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C72F97A9-B9EC-6DCE-1E05-333572CA42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5795056"/>
              </p:ext>
            </p:extLst>
          </p:nvPr>
        </p:nvGraphicFramePr>
        <p:xfrm>
          <a:off x="459599" y="2999860"/>
          <a:ext cx="1037701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A0AFEAFD-BFA1-B209-3FB2-ED2EC127F481}"/>
              </a:ext>
            </a:extLst>
          </p:cNvPr>
          <p:cNvSpPr/>
          <p:nvPr/>
        </p:nvSpPr>
        <p:spPr>
          <a:xfrm>
            <a:off x="4510872" y="2852171"/>
            <a:ext cx="1585128" cy="8388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dirty="0">
                <a:solidFill>
                  <a:schemeClr val="tx1"/>
                </a:solidFill>
              </a:rPr>
              <a:t>Bonus for outcome achievement</a:t>
            </a:r>
          </a:p>
          <a:p>
            <a:pPr algn="ctr"/>
            <a:r>
              <a:rPr lang="en-AU" sz="1600" dirty="0">
                <a:solidFill>
                  <a:schemeClr val="tx1"/>
                </a:solidFill>
              </a:rPr>
              <a:t>(paid in arrears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A93781-5BC2-E3B3-1DA2-492807B62EDF}"/>
              </a:ext>
            </a:extLst>
          </p:cNvPr>
          <p:cNvSpPr/>
          <p:nvPr/>
        </p:nvSpPr>
        <p:spPr>
          <a:xfrm>
            <a:off x="6925436" y="3759157"/>
            <a:ext cx="1585128" cy="8388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dirty="0">
                <a:solidFill>
                  <a:schemeClr val="tx1"/>
                </a:solidFill>
              </a:rPr>
              <a:t>Opportunity for  innovation</a:t>
            </a:r>
          </a:p>
        </p:txBody>
      </p:sp>
      <p:sp>
        <p:nvSpPr>
          <p:cNvPr id="12" name="Arrow: Up 11">
            <a:extLst>
              <a:ext uri="{FF2B5EF4-FFF2-40B4-BE49-F238E27FC236}">
                <a16:creationId xmlns:a16="http://schemas.microsoft.com/office/drawing/2014/main" id="{80EDBDD3-CBEA-4699-A7EE-BFEDE10411DB}"/>
              </a:ext>
            </a:extLst>
          </p:cNvPr>
          <p:cNvSpPr/>
          <p:nvPr/>
        </p:nvSpPr>
        <p:spPr>
          <a:xfrm rot="5400000">
            <a:off x="6445062" y="2753978"/>
            <a:ext cx="490740" cy="1095004"/>
          </a:xfrm>
          <a:prstGeom prst="upArrow">
            <a:avLst/>
          </a:prstGeom>
          <a:solidFill>
            <a:srgbClr val="1777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C60D981-E59D-B40F-DFF9-8EB7E67CBBE7}"/>
              </a:ext>
            </a:extLst>
          </p:cNvPr>
          <p:cNvSpPr/>
          <p:nvPr/>
        </p:nvSpPr>
        <p:spPr>
          <a:xfrm>
            <a:off x="7595669" y="2859338"/>
            <a:ext cx="1585128" cy="9930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dirty="0">
                <a:solidFill>
                  <a:schemeClr val="tx1"/>
                </a:solidFill>
              </a:rPr>
              <a:t>Investment in innovation</a:t>
            </a:r>
          </a:p>
        </p:txBody>
      </p:sp>
      <p:sp>
        <p:nvSpPr>
          <p:cNvPr id="18" name="Arrow: Bent 17">
            <a:extLst>
              <a:ext uri="{FF2B5EF4-FFF2-40B4-BE49-F238E27FC236}">
                <a16:creationId xmlns:a16="http://schemas.microsoft.com/office/drawing/2014/main" id="{D13886C1-1917-B516-D758-E19D0B27E340}"/>
              </a:ext>
            </a:extLst>
          </p:cNvPr>
          <p:cNvSpPr/>
          <p:nvPr/>
        </p:nvSpPr>
        <p:spPr>
          <a:xfrm>
            <a:off x="5426197" y="3818959"/>
            <a:ext cx="1339606" cy="838863"/>
          </a:xfrm>
          <a:prstGeom prst="ben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chemeClr val="tx1"/>
              </a:solidFill>
            </a:endParaRPr>
          </a:p>
        </p:txBody>
      </p:sp>
      <p:sp>
        <p:nvSpPr>
          <p:cNvPr id="21" name="Arrow: Bent 20">
            <a:extLst>
              <a:ext uri="{FF2B5EF4-FFF2-40B4-BE49-F238E27FC236}">
                <a16:creationId xmlns:a16="http://schemas.microsoft.com/office/drawing/2014/main" id="{1CB5B982-8761-F9E5-415A-2EFA2B5DAF42}"/>
              </a:ext>
            </a:extLst>
          </p:cNvPr>
          <p:cNvSpPr/>
          <p:nvPr/>
        </p:nvSpPr>
        <p:spPr>
          <a:xfrm rot="5400000">
            <a:off x="8843228" y="3823247"/>
            <a:ext cx="865509" cy="923816"/>
          </a:xfrm>
          <a:prstGeom prst="ben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chemeClr val="tx1"/>
              </a:solidFill>
            </a:endParaRPr>
          </a:p>
        </p:txBody>
      </p:sp>
      <p:sp>
        <p:nvSpPr>
          <p:cNvPr id="22" name="Arrow: Bent 21">
            <a:extLst>
              <a:ext uri="{FF2B5EF4-FFF2-40B4-BE49-F238E27FC236}">
                <a16:creationId xmlns:a16="http://schemas.microsoft.com/office/drawing/2014/main" id="{AEEFB3A0-88F9-26A2-75CF-63A796722090}"/>
              </a:ext>
            </a:extLst>
          </p:cNvPr>
          <p:cNvSpPr/>
          <p:nvPr/>
        </p:nvSpPr>
        <p:spPr>
          <a:xfrm>
            <a:off x="2919385" y="2891980"/>
            <a:ext cx="1620636" cy="1756698"/>
          </a:xfrm>
          <a:prstGeom prst="bentArrow">
            <a:avLst/>
          </a:prstGeom>
          <a:solidFill>
            <a:srgbClr val="1777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chemeClr val="tx1"/>
              </a:solidFill>
            </a:endParaRPr>
          </a:p>
        </p:txBody>
      </p:sp>
      <p:sp>
        <p:nvSpPr>
          <p:cNvPr id="23" name="Arrow: Bent 22">
            <a:extLst>
              <a:ext uri="{FF2B5EF4-FFF2-40B4-BE49-F238E27FC236}">
                <a16:creationId xmlns:a16="http://schemas.microsoft.com/office/drawing/2014/main" id="{80D34C32-38CF-F171-296B-CD6C039C0F8F}"/>
              </a:ext>
            </a:extLst>
          </p:cNvPr>
          <p:cNvSpPr/>
          <p:nvPr/>
        </p:nvSpPr>
        <p:spPr>
          <a:xfrm rot="5400000">
            <a:off x="9244319" y="3561648"/>
            <a:ext cx="1475204" cy="717145"/>
          </a:xfrm>
          <a:prstGeom prst="bentArrow">
            <a:avLst/>
          </a:prstGeom>
          <a:solidFill>
            <a:srgbClr val="1777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22BBD6E-7058-6830-ED7B-85C5CA4B9A64}"/>
              </a:ext>
            </a:extLst>
          </p:cNvPr>
          <p:cNvSpPr txBox="1"/>
          <p:nvPr/>
        </p:nvSpPr>
        <p:spPr>
          <a:xfrm>
            <a:off x="573135" y="1745657"/>
            <a:ext cx="17607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000" b="1" dirty="0">
                <a:solidFill>
                  <a:schemeClr val="tx2"/>
                </a:solidFill>
              </a:rPr>
              <a:t>CURRENT STATE</a:t>
            </a:r>
          </a:p>
        </p:txBody>
      </p:sp>
    </p:spTree>
    <p:extLst>
      <p:ext uri="{BB962C8B-B14F-4D97-AF65-F5344CB8AC3E}">
        <p14:creationId xmlns:p14="http://schemas.microsoft.com/office/powerpoint/2010/main" val="219116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  <p:bldP spid="9" grpId="0"/>
      <p:bldP spid="11" grpId="0"/>
      <p:bldP spid="12" grpId="0" animBg="1"/>
      <p:bldP spid="13" grpId="0"/>
      <p:bldP spid="18" grpId="0" animBg="1"/>
      <p:bldP spid="21" grpId="0" animBg="1"/>
      <p:bldP spid="22" grpId="0" animBg="1"/>
      <p:bldP spid="2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CFE01-B593-326C-96DE-745D2B2E91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561582-F0D6-ED71-4FE3-3A80C416E0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My starting (and ending) poin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BCE1F9C-CD26-ED79-FF7E-4503265E4061}"/>
              </a:ext>
            </a:extLst>
          </p:cNvPr>
          <p:cNvSpPr txBox="1"/>
          <p:nvPr/>
        </p:nvSpPr>
        <p:spPr>
          <a:xfrm>
            <a:off x="482387" y="2898897"/>
            <a:ext cx="609437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/>
            <a:r>
              <a:rPr lang="en-US" sz="1400" dirty="0" err="1">
                <a:latin typeface="Calibri" panose="020F0502020204030204" pitchFamily="34" charset="0"/>
              </a:rPr>
              <a:t>Draxe</a:t>
            </a:r>
            <a:r>
              <a:rPr lang="en-US" sz="1400" dirty="0">
                <a:latin typeface="Calibri" panose="020F0502020204030204" pitchFamily="34" charset="0"/>
              </a:rPr>
              <a:t>, Thomas (1616) </a:t>
            </a:r>
            <a:r>
              <a:rPr lang="en-US" sz="1400" i="1" dirty="0">
                <a:latin typeface="Calibri" panose="020F0502020204030204" pitchFamily="34" charset="0"/>
              </a:rPr>
              <a:t>Bibliotheca </a:t>
            </a:r>
            <a:r>
              <a:rPr lang="en-US" sz="1400" i="1" dirty="0" err="1">
                <a:latin typeface="Calibri" panose="020F0502020204030204" pitchFamily="34" charset="0"/>
              </a:rPr>
              <a:t>scholastica</a:t>
            </a:r>
            <a:r>
              <a:rPr lang="en-US" sz="1400" i="1" dirty="0">
                <a:latin typeface="Calibri" panose="020F0502020204030204" pitchFamily="34" charset="0"/>
              </a:rPr>
              <a:t> </a:t>
            </a:r>
            <a:r>
              <a:rPr lang="en-US" sz="1400" i="1" dirty="0" err="1">
                <a:latin typeface="Calibri" panose="020F0502020204030204" pitchFamily="34" charset="0"/>
              </a:rPr>
              <a:t>instructissima</a:t>
            </a:r>
            <a:r>
              <a:rPr lang="en-US" sz="1400" i="1" dirty="0">
                <a:latin typeface="Calibri" panose="020F0502020204030204" pitchFamily="34" charset="0"/>
              </a:rPr>
              <a:t>. Or, A </a:t>
            </a:r>
            <a:r>
              <a:rPr lang="en-US" sz="1400" i="1" dirty="0" err="1">
                <a:latin typeface="Calibri" panose="020F0502020204030204" pitchFamily="34" charset="0"/>
              </a:rPr>
              <a:t>treasurie</a:t>
            </a:r>
            <a:r>
              <a:rPr lang="en-US" sz="1400" i="1" dirty="0">
                <a:latin typeface="Calibri" panose="020F0502020204030204" pitchFamily="34" charset="0"/>
              </a:rPr>
              <a:t> of ancient </a:t>
            </a:r>
            <a:r>
              <a:rPr lang="en-US" sz="1400" i="1" dirty="0" err="1">
                <a:latin typeface="Calibri" panose="020F0502020204030204" pitchFamily="34" charset="0"/>
              </a:rPr>
              <a:t>adagies</a:t>
            </a:r>
            <a:r>
              <a:rPr lang="en-US" sz="1400" i="1" dirty="0">
                <a:latin typeface="Calibri" panose="020F0502020204030204" pitchFamily="34" charset="0"/>
              </a:rPr>
              <a:t>, and sententious </a:t>
            </a:r>
            <a:r>
              <a:rPr lang="en-US" sz="1400" i="1" dirty="0" err="1">
                <a:latin typeface="Calibri" panose="020F0502020204030204" pitchFamily="34" charset="0"/>
              </a:rPr>
              <a:t>prouerbes</a:t>
            </a:r>
            <a:r>
              <a:rPr lang="en-US" sz="1400" i="1" dirty="0">
                <a:latin typeface="Calibri" panose="020F0502020204030204" pitchFamily="34" charset="0"/>
              </a:rPr>
              <a:t> : selected out of the English, </a:t>
            </a:r>
            <a:r>
              <a:rPr lang="en-US" sz="1400" i="1" dirty="0" err="1">
                <a:latin typeface="Calibri" panose="020F0502020204030204" pitchFamily="34" charset="0"/>
              </a:rPr>
              <a:t>Greeke</a:t>
            </a:r>
            <a:r>
              <a:rPr lang="en-US" sz="1400" i="1" dirty="0">
                <a:latin typeface="Calibri" panose="020F0502020204030204" pitchFamily="34" charset="0"/>
              </a:rPr>
              <a:t>, Latine, French, Italian and Spanish. Ranked in </a:t>
            </a:r>
            <a:r>
              <a:rPr lang="en-US" sz="1400" i="1" dirty="0" err="1">
                <a:latin typeface="Calibri" panose="020F0502020204030204" pitchFamily="34" charset="0"/>
              </a:rPr>
              <a:t>alphabeticall</a:t>
            </a:r>
            <a:r>
              <a:rPr lang="en-US" sz="1400" i="1" dirty="0">
                <a:latin typeface="Calibri" panose="020F0502020204030204" pitchFamily="34" charset="0"/>
              </a:rPr>
              <a:t> order, and suited to one and the same sense </a:t>
            </a:r>
            <a:r>
              <a:rPr lang="en-US" sz="1400" dirty="0">
                <a:latin typeface="Calibri" panose="020F0502020204030204" pitchFamily="34" charset="0"/>
              </a:rPr>
              <a:t>London: Apud </a:t>
            </a:r>
            <a:r>
              <a:rPr lang="en-US" sz="1400" dirty="0" err="1">
                <a:latin typeface="Calibri" panose="020F0502020204030204" pitchFamily="34" charset="0"/>
              </a:rPr>
              <a:t>Ioannem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Billium</a:t>
            </a:r>
            <a:endParaRPr lang="en-US" sz="1400" dirty="0">
              <a:latin typeface="Calibri" panose="020F0502020204030204" pitchFamily="34" charset="0"/>
            </a:endParaRPr>
          </a:p>
        </p:txBody>
      </p:sp>
      <p:sp>
        <p:nvSpPr>
          <p:cNvPr id="6" name="AutoShape 2" descr="DEEDS are fruit, words are but leaves - a scanned entry from Tilley's 1950 Dictionary of Proverbs.">
            <a:extLst>
              <a:ext uri="{FF2B5EF4-FFF2-40B4-BE49-F238E27FC236}">
                <a16:creationId xmlns:a16="http://schemas.microsoft.com/office/drawing/2014/main" id="{9EA96F9A-C263-8E37-6F20-9576C9A69F5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9D38F50-BAA4-8BF8-6B5F-F1941168FF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684" y="1645911"/>
            <a:ext cx="6339870" cy="118872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C53C10E-749F-9778-9728-7D72209F4EA0}"/>
              </a:ext>
            </a:extLst>
          </p:cNvPr>
          <p:cNvSpPr txBox="1"/>
          <p:nvPr/>
        </p:nvSpPr>
        <p:spPr>
          <a:xfrm>
            <a:off x="482387" y="4058242"/>
            <a:ext cx="59077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dirty="0"/>
              <a:t>Sourced in </a:t>
            </a:r>
            <a:r>
              <a:rPr lang="en-US" sz="1200" dirty="0"/>
              <a:t>Tilley, Morris Palmer (1950), </a:t>
            </a:r>
            <a:r>
              <a:rPr lang="en-US" sz="1200" i="1" dirty="0"/>
              <a:t>A Dictionary of the Proverbs in England in the Sixteenth and Seventeenth Centuries (Ann Arbor: University of Michigan Press).</a:t>
            </a:r>
          </a:p>
          <a:p>
            <a:r>
              <a:rPr lang="en-AU" sz="1200" dirty="0"/>
              <a:t>P 148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8CA985-297A-404E-62B6-8AA7D9A20C76}"/>
              </a:ext>
            </a:extLst>
          </p:cNvPr>
          <p:cNvSpPr txBox="1"/>
          <p:nvPr/>
        </p:nvSpPr>
        <p:spPr>
          <a:xfrm>
            <a:off x="7052553" y="1483125"/>
            <a:ext cx="4215319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/>
              <a:t>‘By comparing the costs of different combinations of goods at different relative price situations, we can infer whether a given batch of goods is preferred to another batch; </a:t>
            </a:r>
            <a:r>
              <a:rPr lang="en-US" sz="2400" b="1" dirty="0">
                <a:solidFill>
                  <a:srgbClr val="C00000"/>
                </a:solidFill>
              </a:rPr>
              <a:t>the individual guinea-pig, by his (sic) market </a:t>
            </a:r>
            <a:r>
              <a:rPr lang="en-US" sz="2400" b="1" dirty="0" err="1">
                <a:solidFill>
                  <a:srgbClr val="C00000"/>
                </a:solidFill>
              </a:rPr>
              <a:t>behaviour</a:t>
            </a:r>
            <a:r>
              <a:rPr lang="en-US" sz="2400" b="1" dirty="0">
                <a:solidFill>
                  <a:srgbClr val="C00000"/>
                </a:solidFill>
              </a:rPr>
              <a:t>, reveals his preference pattern</a:t>
            </a:r>
            <a:r>
              <a:rPr lang="en-US" sz="2400" dirty="0"/>
              <a:t>-if there is such a consistent pattern.’</a:t>
            </a:r>
            <a:endParaRPr lang="en-AU" sz="24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1E3F703-A180-720E-EBAA-994E5A1FF6E8}"/>
              </a:ext>
            </a:extLst>
          </p:cNvPr>
          <p:cNvSpPr txBox="1"/>
          <p:nvPr/>
        </p:nvSpPr>
        <p:spPr>
          <a:xfrm>
            <a:off x="7052553" y="5939714"/>
            <a:ext cx="481453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/>
            <a:r>
              <a:rPr lang="en-US" sz="1400" dirty="0">
                <a:latin typeface="Calibri" panose="020F0502020204030204" pitchFamily="34" charset="0"/>
              </a:rPr>
              <a:t>Samuelson, Paul A. (1948), 'Consumption Theory in Terms of Revealed Preference', </a:t>
            </a:r>
            <a:r>
              <a:rPr lang="en-US" sz="1400" i="1" dirty="0">
                <a:latin typeface="Calibri" panose="020F0502020204030204" pitchFamily="34" charset="0"/>
              </a:rPr>
              <a:t>Economica, </a:t>
            </a:r>
            <a:r>
              <a:rPr lang="en-US" sz="1400" dirty="0">
                <a:latin typeface="Calibri" panose="020F0502020204030204" pitchFamily="34" charset="0"/>
              </a:rPr>
              <a:t>15 (60), 243-53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E3ECC97-6C35-B388-DA6C-4A724A2E37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5440" y="4790932"/>
            <a:ext cx="1944698" cy="198070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637758A-0CC7-4A9C-34D0-9568009625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22579" y="4790932"/>
            <a:ext cx="2429344" cy="2044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9041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EDF17-32A5-0EA1-B5D1-2295C3C82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My starting poin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A071756-1202-F68D-DA01-199498E8F1EA}"/>
              </a:ext>
            </a:extLst>
          </p:cNvPr>
          <p:cNvSpPr txBox="1"/>
          <p:nvPr/>
        </p:nvSpPr>
        <p:spPr>
          <a:xfrm>
            <a:off x="512684" y="3581400"/>
            <a:ext cx="609437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/>
            <a:r>
              <a:rPr lang="en-US" sz="1400" dirty="0" err="1">
                <a:latin typeface="Calibri" panose="020F0502020204030204" pitchFamily="34" charset="0"/>
              </a:rPr>
              <a:t>Draxe</a:t>
            </a:r>
            <a:r>
              <a:rPr lang="en-US" sz="1400" dirty="0">
                <a:latin typeface="Calibri" panose="020F0502020204030204" pitchFamily="34" charset="0"/>
              </a:rPr>
              <a:t>, Thomas (1616) </a:t>
            </a:r>
            <a:r>
              <a:rPr lang="en-US" sz="1400" i="1" dirty="0">
                <a:latin typeface="Calibri" panose="020F0502020204030204" pitchFamily="34" charset="0"/>
              </a:rPr>
              <a:t>Bibliotheca </a:t>
            </a:r>
            <a:r>
              <a:rPr lang="en-US" sz="1400" i="1" dirty="0" err="1">
                <a:latin typeface="Calibri" panose="020F0502020204030204" pitchFamily="34" charset="0"/>
              </a:rPr>
              <a:t>scholastica</a:t>
            </a:r>
            <a:r>
              <a:rPr lang="en-US" sz="1400" i="1" dirty="0">
                <a:latin typeface="Calibri" panose="020F0502020204030204" pitchFamily="34" charset="0"/>
              </a:rPr>
              <a:t> </a:t>
            </a:r>
            <a:r>
              <a:rPr lang="en-US" sz="1400" i="1" dirty="0" err="1">
                <a:latin typeface="Calibri" panose="020F0502020204030204" pitchFamily="34" charset="0"/>
              </a:rPr>
              <a:t>instructissima</a:t>
            </a:r>
            <a:r>
              <a:rPr lang="en-US" sz="1400" i="1" dirty="0">
                <a:latin typeface="Calibri" panose="020F0502020204030204" pitchFamily="34" charset="0"/>
              </a:rPr>
              <a:t>. Or, A </a:t>
            </a:r>
            <a:r>
              <a:rPr lang="en-US" sz="1400" i="1" dirty="0" err="1">
                <a:latin typeface="Calibri" panose="020F0502020204030204" pitchFamily="34" charset="0"/>
              </a:rPr>
              <a:t>treasurie</a:t>
            </a:r>
            <a:r>
              <a:rPr lang="en-US" sz="1400" i="1" dirty="0">
                <a:latin typeface="Calibri" panose="020F0502020204030204" pitchFamily="34" charset="0"/>
              </a:rPr>
              <a:t> of ancient </a:t>
            </a:r>
            <a:r>
              <a:rPr lang="en-US" sz="1400" i="1" dirty="0" err="1">
                <a:latin typeface="Calibri" panose="020F0502020204030204" pitchFamily="34" charset="0"/>
              </a:rPr>
              <a:t>adagies</a:t>
            </a:r>
            <a:r>
              <a:rPr lang="en-US" sz="1400" i="1" dirty="0">
                <a:latin typeface="Calibri" panose="020F0502020204030204" pitchFamily="34" charset="0"/>
              </a:rPr>
              <a:t>, and sententious </a:t>
            </a:r>
            <a:r>
              <a:rPr lang="en-US" sz="1400" i="1" dirty="0" err="1">
                <a:latin typeface="Calibri" panose="020F0502020204030204" pitchFamily="34" charset="0"/>
              </a:rPr>
              <a:t>prouerbes</a:t>
            </a:r>
            <a:r>
              <a:rPr lang="en-US" sz="1400" i="1" dirty="0">
                <a:latin typeface="Calibri" panose="020F0502020204030204" pitchFamily="34" charset="0"/>
              </a:rPr>
              <a:t> : selected out of the English, </a:t>
            </a:r>
            <a:r>
              <a:rPr lang="en-US" sz="1400" i="1" dirty="0" err="1">
                <a:latin typeface="Calibri" panose="020F0502020204030204" pitchFamily="34" charset="0"/>
              </a:rPr>
              <a:t>Greeke</a:t>
            </a:r>
            <a:r>
              <a:rPr lang="en-US" sz="1400" i="1" dirty="0">
                <a:latin typeface="Calibri" panose="020F0502020204030204" pitchFamily="34" charset="0"/>
              </a:rPr>
              <a:t>, Latine, French, Italian and Spanish. Ranked in </a:t>
            </a:r>
            <a:r>
              <a:rPr lang="en-US" sz="1400" i="1" dirty="0" err="1">
                <a:latin typeface="Calibri" panose="020F0502020204030204" pitchFamily="34" charset="0"/>
              </a:rPr>
              <a:t>alphabeticall</a:t>
            </a:r>
            <a:r>
              <a:rPr lang="en-US" sz="1400" i="1" dirty="0">
                <a:latin typeface="Calibri" panose="020F0502020204030204" pitchFamily="34" charset="0"/>
              </a:rPr>
              <a:t> order, and suited to one and the same sense </a:t>
            </a:r>
            <a:r>
              <a:rPr lang="en-US" sz="1400" dirty="0">
                <a:latin typeface="Calibri" panose="020F0502020204030204" pitchFamily="34" charset="0"/>
              </a:rPr>
              <a:t>London: Apud </a:t>
            </a:r>
            <a:r>
              <a:rPr lang="en-US" sz="1400" dirty="0" err="1">
                <a:latin typeface="Calibri" panose="020F0502020204030204" pitchFamily="34" charset="0"/>
              </a:rPr>
              <a:t>Ioannem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Billium</a:t>
            </a:r>
            <a:endParaRPr lang="en-US" sz="1400" dirty="0">
              <a:latin typeface="Calibri" panose="020F0502020204030204" pitchFamily="34" charset="0"/>
            </a:endParaRPr>
          </a:p>
        </p:txBody>
      </p:sp>
      <p:sp>
        <p:nvSpPr>
          <p:cNvPr id="6" name="AutoShape 2" descr="DEEDS are fruit, words are but leaves - a scanned entry from Tilley's 1950 Dictionary of Proverbs.">
            <a:extLst>
              <a:ext uri="{FF2B5EF4-FFF2-40B4-BE49-F238E27FC236}">
                <a16:creationId xmlns:a16="http://schemas.microsoft.com/office/drawing/2014/main" id="{799B9BDC-4BB8-5EFC-A232-0247906CA37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351492-AC3D-8ED9-3856-F5E7E893F6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684" y="2087874"/>
            <a:ext cx="6339870" cy="118872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5F8D965-8C96-1B20-0105-73E87947D804}"/>
              </a:ext>
            </a:extLst>
          </p:cNvPr>
          <p:cNvSpPr txBox="1"/>
          <p:nvPr/>
        </p:nvSpPr>
        <p:spPr>
          <a:xfrm>
            <a:off x="512684" y="4622446"/>
            <a:ext cx="59077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dirty="0"/>
              <a:t>Sourced in </a:t>
            </a:r>
            <a:r>
              <a:rPr lang="en-US" sz="1200" dirty="0"/>
              <a:t>Tilley, Morris Palmer (1950), </a:t>
            </a:r>
            <a:r>
              <a:rPr lang="en-US" sz="1200" i="1" dirty="0"/>
              <a:t>A Dictionary of the Proverbs in England in the Sixteenth and Seventeenth Centuries (Ann Arbor: University of Michigan Press).</a:t>
            </a:r>
          </a:p>
          <a:p>
            <a:r>
              <a:rPr lang="en-AU" sz="1200" dirty="0"/>
              <a:t>P 148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13530D8-8724-505E-E7A8-65B3F0BA1E0B}"/>
              </a:ext>
            </a:extLst>
          </p:cNvPr>
          <p:cNvSpPr txBox="1"/>
          <p:nvPr/>
        </p:nvSpPr>
        <p:spPr>
          <a:xfrm>
            <a:off x="7052553" y="601518"/>
            <a:ext cx="4215319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/>
              <a:t>‘By comparing the costs of different combinations of goods at different relative price situations, we can infer whether a given batch of goods is preferred to another batch; </a:t>
            </a:r>
            <a:r>
              <a:rPr lang="en-US" sz="2400" b="1" dirty="0">
                <a:solidFill>
                  <a:srgbClr val="C00000"/>
                </a:solidFill>
              </a:rPr>
              <a:t>the individual guinea-pig, by his (sic) market </a:t>
            </a:r>
            <a:r>
              <a:rPr lang="en-US" sz="2400" b="1" dirty="0" err="1">
                <a:solidFill>
                  <a:srgbClr val="C00000"/>
                </a:solidFill>
              </a:rPr>
              <a:t>behaviour</a:t>
            </a:r>
            <a:r>
              <a:rPr lang="en-US" sz="2400" b="1" dirty="0">
                <a:solidFill>
                  <a:srgbClr val="C00000"/>
                </a:solidFill>
              </a:rPr>
              <a:t>, reveals his preference pattern</a:t>
            </a:r>
            <a:r>
              <a:rPr lang="en-US" sz="2400" dirty="0"/>
              <a:t>-if there is such a consistent pattern.’</a:t>
            </a:r>
            <a:endParaRPr lang="en-AU" sz="24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42A68DF-2738-72F6-27E0-5857A70D4752}"/>
              </a:ext>
            </a:extLst>
          </p:cNvPr>
          <p:cNvSpPr txBox="1"/>
          <p:nvPr/>
        </p:nvSpPr>
        <p:spPr>
          <a:xfrm>
            <a:off x="7128447" y="4861878"/>
            <a:ext cx="392217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/>
            <a:r>
              <a:rPr lang="en-US" sz="1800" dirty="0">
                <a:latin typeface="Calibri" panose="020F0502020204030204" pitchFamily="34" charset="0"/>
              </a:rPr>
              <a:t>Samuelson, Paul A. (1948), 'Consumption Theory in Terms of Revealed Preference', </a:t>
            </a:r>
            <a:r>
              <a:rPr lang="en-US" sz="1800" i="1" dirty="0">
                <a:latin typeface="Calibri" panose="020F0502020204030204" pitchFamily="34" charset="0"/>
              </a:rPr>
              <a:t>Economica, </a:t>
            </a:r>
            <a:r>
              <a:rPr lang="en-US" sz="1800" dirty="0">
                <a:latin typeface="Calibri" panose="020F0502020204030204" pitchFamily="34" charset="0"/>
              </a:rPr>
              <a:t>15 (60), 243-53.</a:t>
            </a:r>
          </a:p>
        </p:txBody>
      </p:sp>
    </p:spTree>
    <p:extLst>
      <p:ext uri="{BB962C8B-B14F-4D97-AF65-F5344CB8AC3E}">
        <p14:creationId xmlns:p14="http://schemas.microsoft.com/office/powerpoint/2010/main" val="969337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CDD393F-0887-D9C7-D5C6-DBA7787271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2586" y="318266"/>
            <a:ext cx="3054180" cy="311073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2C69E05-07AA-263F-E07C-EEC091A371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402" y="94529"/>
            <a:ext cx="5234498" cy="68580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E959790-7B49-8B73-15A0-D4186CFF22B6}"/>
              </a:ext>
            </a:extLst>
          </p:cNvPr>
          <p:cNvSpPr txBox="1"/>
          <p:nvPr/>
        </p:nvSpPr>
        <p:spPr>
          <a:xfrm>
            <a:off x="6242586" y="3833823"/>
            <a:ext cx="51608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/>
            <a:r>
              <a:rPr lang="en-US" sz="1200" dirty="0">
                <a:latin typeface="Calibri" panose="020F0502020204030204" pitchFamily="34" charset="0"/>
              </a:rPr>
              <a:t>Mintzberg, Henry, Ahlstrand, Bruce, and Lampel, Joseph (1998), </a:t>
            </a:r>
            <a:r>
              <a:rPr lang="en-US" sz="1200" i="1" dirty="0">
                <a:latin typeface="Calibri" panose="020F0502020204030204" pitchFamily="34" charset="0"/>
              </a:rPr>
              <a:t>Strategy safari: A guided tour through the wilds of strategic management </a:t>
            </a:r>
            <a:r>
              <a:rPr lang="en-US" sz="1200" dirty="0">
                <a:latin typeface="Calibri" panose="020F0502020204030204" pitchFamily="34" charset="0"/>
              </a:rPr>
              <a:t>(New York, NY: Free Press)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94893A-BFBD-01C0-1941-3A82275F068E}"/>
              </a:ext>
            </a:extLst>
          </p:cNvPr>
          <p:cNvSpPr txBox="1"/>
          <p:nvPr/>
        </p:nvSpPr>
        <p:spPr>
          <a:xfrm>
            <a:off x="6242586" y="4480154"/>
            <a:ext cx="561543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/>
            <a:r>
              <a:rPr lang="en-AU" sz="1200" dirty="0">
                <a:latin typeface="Calibri" panose="020F0502020204030204" pitchFamily="34" charset="0"/>
              </a:rPr>
              <a:t>Mintzberg, Henry (2023), </a:t>
            </a:r>
            <a:r>
              <a:rPr lang="en-AU" sz="1200" i="1" dirty="0">
                <a:latin typeface="Calibri" panose="020F0502020204030204" pitchFamily="34" charset="0"/>
              </a:rPr>
              <a:t>Understanding Organizations... Finally! </a:t>
            </a:r>
            <a:r>
              <a:rPr lang="en-AU" sz="1200" dirty="0">
                <a:latin typeface="Calibri" panose="020F0502020204030204" pitchFamily="34" charset="0"/>
              </a:rPr>
              <a:t>(Oakland, CA: Berrett-Koehler Publishers)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7E2D4C-0A31-D230-7E9D-C3C629B4A2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2586" y="3747266"/>
            <a:ext cx="3696511" cy="311073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A86BF61-809E-7BB5-8DBF-D565668E7474}"/>
              </a:ext>
            </a:extLst>
          </p:cNvPr>
          <p:cNvSpPr txBox="1"/>
          <p:nvPr/>
        </p:nvSpPr>
        <p:spPr>
          <a:xfrm>
            <a:off x="344402" y="3677055"/>
            <a:ext cx="5307368" cy="327547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234685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595666-79B3-E9C5-3F3E-2628038CF9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7D594F-6E9A-E364-3969-3E93C6B9EA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5496" y="1490499"/>
            <a:ext cx="10701007" cy="2678553"/>
          </a:xfrm>
        </p:spPr>
        <p:txBody>
          <a:bodyPr/>
          <a:lstStyle/>
          <a:p>
            <a:pPr>
              <a:buNone/>
            </a:pPr>
            <a:endParaRPr lang="en-US" sz="2800" dirty="0">
              <a:solidFill>
                <a:srgbClr val="000000"/>
              </a:solidFill>
              <a:effectLst/>
              <a:latin typeface="Aptos" panose="020B00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  <a:latin typeface="Aptos" panose="020B0004020202020204" pitchFamily="34" charset="0"/>
              </a:rPr>
              <a:t>Australian mental health policy over the last few years has been about expanding (spending on) public hospital provision</a:t>
            </a:r>
            <a:endParaRPr lang="en-US" sz="2800" dirty="0">
              <a:solidFill>
                <a:srgbClr val="000000"/>
              </a:solidFill>
              <a:effectLst/>
              <a:latin typeface="Aptos" panose="020B00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  <a:latin typeface="Aptos" panose="020B0004020202020204" pitchFamily="34" charset="0"/>
              </a:rPr>
              <a:t>Financial incentives on states are sensible</a:t>
            </a:r>
            <a:endParaRPr lang="en-US" sz="2800" dirty="0">
              <a:solidFill>
                <a:srgbClr val="000000"/>
              </a:solidFill>
              <a:effectLst/>
              <a:latin typeface="Aptos" panose="020B00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  <a:latin typeface="Aptos" panose="020B0004020202020204" pitchFamily="34" charset="0"/>
              </a:rPr>
              <a:t>Where next?</a:t>
            </a:r>
          </a:p>
          <a:p>
            <a:pPr marL="558900" lvl="1" indent="-342900"/>
            <a:r>
              <a:rPr lang="en-US" sz="280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Maybe less emphasis on rhetoric, more on doing?</a:t>
            </a:r>
          </a:p>
          <a:p>
            <a:pPr marL="558900" lvl="1" indent="-342900"/>
            <a:r>
              <a:rPr lang="en-US" sz="2800" dirty="0">
                <a:solidFill>
                  <a:srgbClr val="000000"/>
                </a:solidFill>
                <a:latin typeface="Aptos" panose="020B0004020202020204" pitchFamily="34" charset="0"/>
              </a:rPr>
              <a:t>Eastern Melbourne PHN example</a:t>
            </a:r>
            <a:endParaRPr lang="en-US" sz="2800" dirty="0">
              <a:solidFill>
                <a:srgbClr val="000000"/>
              </a:solidFill>
              <a:effectLst/>
              <a:latin typeface="Aptos" panose="020B00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6590B57-7BA2-3FBA-30B6-BF370579F3E7}"/>
              </a:ext>
            </a:extLst>
          </p:cNvPr>
          <p:cNvSpPr txBox="1"/>
          <p:nvPr/>
        </p:nvSpPr>
        <p:spPr>
          <a:xfrm>
            <a:off x="4895444" y="5539604"/>
            <a:ext cx="609437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/>
            <a:r>
              <a:rPr lang="en-US" sz="1800" dirty="0">
                <a:latin typeface="Calibri" panose="020F0502020204030204" pitchFamily="34" charset="0"/>
              </a:rPr>
              <a:t>Mendoza, John, et al. (2013), </a:t>
            </a:r>
            <a:r>
              <a:rPr lang="en-US" sz="1800" i="1" dirty="0">
                <a:latin typeface="Calibri" panose="020F0502020204030204" pitchFamily="34" charset="0"/>
              </a:rPr>
              <a:t>Obsessive Hope Disorder: Reflections on 30 years of mental health reform in Australia and visions for the future </a:t>
            </a:r>
            <a:r>
              <a:rPr lang="en-US" sz="1800" dirty="0">
                <a:latin typeface="Calibri" panose="020F0502020204030204" pitchFamily="34" charset="0"/>
              </a:rPr>
              <a:t>(Moffat Beach QLD: </a:t>
            </a:r>
            <a:r>
              <a:rPr lang="en-US" sz="1800" dirty="0" err="1">
                <a:latin typeface="Calibri" panose="020F0502020204030204" pitchFamily="34" charset="0"/>
              </a:rPr>
              <a:t>ConNectica</a:t>
            </a:r>
            <a:r>
              <a:rPr lang="en-US" sz="1800" dirty="0">
                <a:latin typeface="Calibri" panose="020F0502020204030204" pitchFamily="34" charset="0"/>
              </a:rPr>
              <a:t>).</a:t>
            </a:r>
          </a:p>
        </p:txBody>
      </p:sp>
    </p:spTree>
    <p:extLst>
      <p:ext uri="{BB962C8B-B14F-4D97-AF65-F5344CB8AC3E}">
        <p14:creationId xmlns:p14="http://schemas.microsoft.com/office/powerpoint/2010/main" val="2686383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AE9F84-D5C2-017F-D4FD-D202565E73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8E1BAA-F16B-59EA-8F85-3BCB5E5830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031" y="579765"/>
            <a:ext cx="10954547" cy="887360"/>
          </a:xfrm>
        </p:spPr>
        <p:txBody>
          <a:bodyPr/>
          <a:lstStyle/>
          <a:p>
            <a:r>
              <a:rPr lang="en-AU" dirty="0"/>
              <a:t>Revealed preference – 1</a:t>
            </a:r>
            <a:br>
              <a:rPr lang="en-AU" dirty="0"/>
            </a:br>
            <a:r>
              <a:rPr lang="en-AU" sz="2800" dirty="0"/>
              <a:t>The biggest growth in spend is for hospital-based care</a:t>
            </a:r>
            <a:br>
              <a:rPr lang="en-AU" sz="2800" dirty="0"/>
            </a:br>
            <a:r>
              <a:rPr lang="en-AU" sz="2800" dirty="0"/>
              <a:t>(NB: NDIS spend not in these estimates, definitional issue)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C13A172-0D7E-CB6D-6EFB-DF899A8F02D2}"/>
              </a:ext>
            </a:extLst>
          </p:cNvPr>
          <p:cNvSpPr txBox="1"/>
          <p:nvPr/>
        </p:nvSpPr>
        <p:spPr>
          <a:xfrm>
            <a:off x="756731" y="6462934"/>
            <a:ext cx="1067853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/>
            <a:r>
              <a:rPr lang="en-US" sz="1200" dirty="0">
                <a:latin typeface="Calibri" panose="020F0502020204030204" pitchFamily="34" charset="0"/>
              </a:rPr>
              <a:t>Source: Australian Institute of Health and Welfare (2025), 'Health system spending per case of disease and for certain risk factors', (Canberra: AIHW)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A4F438-3C52-DD66-8BDA-0AF6605E3F80}"/>
              </a:ext>
            </a:extLst>
          </p:cNvPr>
          <p:cNvSpPr txBox="1"/>
          <p:nvPr/>
        </p:nvSpPr>
        <p:spPr>
          <a:xfrm>
            <a:off x="1428765" y="1566225"/>
            <a:ext cx="28891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dirty="0"/>
              <a:t>% growth in per case spending 2015-16 to 2023-24 </a:t>
            </a:r>
            <a:r>
              <a:rPr lang="en-AU" sz="1600" b="1" dirty="0"/>
              <a:t>(Schizophrenia)</a:t>
            </a:r>
            <a:endParaRPr lang="en-AU" sz="1200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77EF98-F9C3-BB74-AFFE-25CDFF341139}"/>
              </a:ext>
            </a:extLst>
          </p:cNvPr>
          <p:cNvSpPr txBox="1"/>
          <p:nvPr/>
        </p:nvSpPr>
        <p:spPr>
          <a:xfrm>
            <a:off x="3026923" y="3761183"/>
            <a:ext cx="142023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 dirty="0"/>
              <a:t>Allied health (prob psychologists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DD51AE3-BB68-64D5-4E10-F136266E1322}"/>
              </a:ext>
            </a:extLst>
          </p:cNvPr>
          <p:cNvSpPr txBox="1"/>
          <p:nvPr/>
        </p:nvSpPr>
        <p:spPr>
          <a:xfrm>
            <a:off x="8883837" y="4936965"/>
            <a:ext cx="36284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dirty="0"/>
              <a:t>Per case spending in 2023-2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C7D4254-A73A-01C3-22AF-DA5EA7B44BF0}"/>
              </a:ext>
            </a:extLst>
          </p:cNvPr>
          <p:cNvSpPr txBox="1"/>
          <p:nvPr/>
        </p:nvSpPr>
        <p:spPr>
          <a:xfrm>
            <a:off x="7614376" y="3638021"/>
            <a:ext cx="142023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 dirty="0"/>
              <a:t>Public hospital admitted care</a:t>
            </a: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939F135C-DD84-9A9F-B343-4D389DA925A9}"/>
              </a:ext>
            </a:extLst>
          </p:cNvPr>
          <p:cNvSpPr/>
          <p:nvPr/>
        </p:nvSpPr>
        <p:spPr>
          <a:xfrm>
            <a:off x="504637" y="4372760"/>
            <a:ext cx="1848255" cy="564205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Average: 18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0148234-2AD7-ED2F-267E-ADD794762833}"/>
              </a:ext>
            </a:extLst>
          </p:cNvPr>
          <p:cNvSpPr txBox="1"/>
          <p:nvPr/>
        </p:nvSpPr>
        <p:spPr>
          <a:xfrm>
            <a:off x="3136751" y="2344833"/>
            <a:ext cx="14202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 dirty="0"/>
              <a:t>Public hospital E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1313780-6FF7-0F83-9EA3-8928CAAE998E}"/>
              </a:ext>
            </a:extLst>
          </p:cNvPr>
          <p:cNvSpPr txBox="1"/>
          <p:nvPr/>
        </p:nvSpPr>
        <p:spPr>
          <a:xfrm>
            <a:off x="311283" y="5023812"/>
            <a:ext cx="24351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 dirty="0"/>
              <a:t>Public hospital non-admitted ca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5FA20E2-F548-5A0D-DB06-8FF5DA85401D}"/>
              </a:ext>
            </a:extLst>
          </p:cNvPr>
          <p:cNvSpPr txBox="1"/>
          <p:nvPr/>
        </p:nvSpPr>
        <p:spPr>
          <a:xfrm>
            <a:off x="3026923" y="4524057"/>
            <a:ext cx="14202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 dirty="0"/>
              <a:t>Specialist services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9006D26E-DCFA-DEE7-38F1-253D2AAC21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8453103"/>
              </p:ext>
            </p:extLst>
          </p:nvPr>
        </p:nvGraphicFramePr>
        <p:xfrm>
          <a:off x="2351718" y="2056650"/>
          <a:ext cx="6626911" cy="40253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C2804A8-2CBA-6CDA-4FB0-71F3D0E94B73}"/>
              </a:ext>
            </a:extLst>
          </p:cNvPr>
          <p:cNvCxnSpPr>
            <a:cxnSpLocks/>
          </p:cNvCxnSpPr>
          <p:nvPr/>
        </p:nvCxnSpPr>
        <p:spPr>
          <a:xfrm flipV="1">
            <a:off x="2155961" y="4785667"/>
            <a:ext cx="645605" cy="3325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FE8911C-B662-F494-8C6B-4B01AC4C6C17}"/>
              </a:ext>
            </a:extLst>
          </p:cNvPr>
          <p:cNvSpPr txBox="1"/>
          <p:nvPr/>
        </p:nvSpPr>
        <p:spPr>
          <a:xfrm>
            <a:off x="1237453" y="982655"/>
            <a:ext cx="10954547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A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614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F526F7-2884-A4F3-B3FE-FE6BB8004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Revealed preference – 2</a:t>
            </a:r>
            <a:br>
              <a:rPr lang="en-AU" dirty="0"/>
            </a:br>
            <a:r>
              <a:rPr lang="en-AU" sz="2800" dirty="0"/>
              <a:t>The biggest growth in spend is for hospital-based care</a:t>
            </a:r>
            <a:endParaRPr lang="en-AU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6B43D633-F390-E052-AF5E-71C66A9F56E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27549533"/>
              </p:ext>
            </p:extLst>
          </p:nvPr>
        </p:nvGraphicFramePr>
        <p:xfrm>
          <a:off x="2012004" y="1974271"/>
          <a:ext cx="5703651" cy="39640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B52B3831-541E-4654-AA06-666E12549727}"/>
              </a:ext>
            </a:extLst>
          </p:cNvPr>
          <p:cNvSpPr txBox="1"/>
          <p:nvPr/>
        </p:nvSpPr>
        <p:spPr>
          <a:xfrm>
            <a:off x="756731" y="6462934"/>
            <a:ext cx="1067853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/>
            <a:r>
              <a:rPr lang="en-US" sz="1200" dirty="0">
                <a:latin typeface="Calibri" panose="020F0502020204030204" pitchFamily="34" charset="0"/>
              </a:rPr>
              <a:t>Source: Australian Institute of Health and Welfare (2025), 'Health system spending per case of disease and for certain risk factors', (Canberra: AIHW)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061FC2-AB07-9B81-37A3-399FA7E3DA0E}"/>
              </a:ext>
            </a:extLst>
          </p:cNvPr>
          <p:cNvSpPr txBox="1"/>
          <p:nvPr/>
        </p:nvSpPr>
        <p:spPr>
          <a:xfrm>
            <a:off x="351215" y="1434781"/>
            <a:ext cx="37852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/>
              <a:t>% growth in per case spending 2015-16 to 2023-24 (All mental health conditions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F7AD5E5-8B7B-910A-DF14-29448EEE009C}"/>
              </a:ext>
            </a:extLst>
          </p:cNvPr>
          <p:cNvSpPr txBox="1"/>
          <p:nvPr/>
        </p:nvSpPr>
        <p:spPr>
          <a:xfrm>
            <a:off x="4056436" y="3168354"/>
            <a:ext cx="142023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 dirty="0"/>
              <a:t>Allied health (prob psychologists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18A2563-4F84-8517-CE1C-A3069051333D}"/>
              </a:ext>
            </a:extLst>
          </p:cNvPr>
          <p:cNvSpPr txBox="1"/>
          <p:nvPr/>
        </p:nvSpPr>
        <p:spPr>
          <a:xfrm>
            <a:off x="6379874" y="4846453"/>
            <a:ext cx="3628417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AU" sz="1600" dirty="0"/>
              <a:t>Per case spending in 2023-2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CE6145-3C69-232A-2B66-A456E0EF7540}"/>
              </a:ext>
            </a:extLst>
          </p:cNvPr>
          <p:cNvSpPr txBox="1"/>
          <p:nvPr/>
        </p:nvSpPr>
        <p:spPr>
          <a:xfrm>
            <a:off x="6368375" y="2271512"/>
            <a:ext cx="142023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 dirty="0"/>
              <a:t>Public hospital admitted care</a:t>
            </a: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A417F8F5-42F6-039D-5B63-65EC266F73BF}"/>
              </a:ext>
            </a:extLst>
          </p:cNvPr>
          <p:cNvSpPr/>
          <p:nvPr/>
        </p:nvSpPr>
        <p:spPr>
          <a:xfrm>
            <a:off x="395591" y="3957294"/>
            <a:ext cx="1848255" cy="564205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Average: 8.7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AB1F03F-C09D-6E7D-3D42-CE710D8A1FBA}"/>
              </a:ext>
            </a:extLst>
          </p:cNvPr>
          <p:cNvSpPr txBox="1"/>
          <p:nvPr/>
        </p:nvSpPr>
        <p:spPr>
          <a:xfrm>
            <a:off x="2885873" y="2223133"/>
            <a:ext cx="14202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 dirty="0"/>
              <a:t>Public hospital E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2E73A44-4129-AC4D-9CD4-BF66AE3ADD49}"/>
              </a:ext>
            </a:extLst>
          </p:cNvPr>
          <p:cNvSpPr txBox="1"/>
          <p:nvPr/>
        </p:nvSpPr>
        <p:spPr>
          <a:xfrm>
            <a:off x="2662134" y="3817439"/>
            <a:ext cx="24351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 dirty="0"/>
              <a:t>Public hospital non-admitted ca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33E48F5-50B5-35BE-C261-F37F225FD596}"/>
              </a:ext>
            </a:extLst>
          </p:cNvPr>
          <p:cNvSpPr txBox="1"/>
          <p:nvPr/>
        </p:nvSpPr>
        <p:spPr>
          <a:xfrm>
            <a:off x="3782437" y="4274737"/>
            <a:ext cx="14202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 dirty="0"/>
              <a:t>Specialist service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241087F2-49B5-1339-22E2-1DEB3CB2853C}"/>
              </a:ext>
            </a:extLst>
          </p:cNvPr>
          <p:cNvSpPr/>
          <p:nvPr/>
        </p:nvSpPr>
        <p:spPr>
          <a:xfrm>
            <a:off x="2451371" y="1879757"/>
            <a:ext cx="5337242" cy="1366090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00DC094-F513-A155-F42B-62CEE0B2DFB5}"/>
              </a:ext>
            </a:extLst>
          </p:cNvPr>
          <p:cNvSpPr/>
          <p:nvPr/>
        </p:nvSpPr>
        <p:spPr>
          <a:xfrm>
            <a:off x="3500756" y="2904697"/>
            <a:ext cx="1975917" cy="802119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586FCB8-6C5A-A4F5-BA7D-4FCB2FB64BF9}"/>
              </a:ext>
            </a:extLst>
          </p:cNvPr>
          <p:cNvSpPr/>
          <p:nvPr/>
        </p:nvSpPr>
        <p:spPr>
          <a:xfrm>
            <a:off x="2608033" y="3531879"/>
            <a:ext cx="2255797" cy="802119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847B37D-DD11-5A8F-B9B5-C2BEB6415757}"/>
              </a:ext>
            </a:extLst>
          </p:cNvPr>
          <p:cNvSpPr txBox="1"/>
          <p:nvPr/>
        </p:nvSpPr>
        <p:spPr>
          <a:xfrm>
            <a:off x="4147223" y="5152040"/>
            <a:ext cx="24351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 dirty="0"/>
              <a:t>Pharmaceutical benefits schem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94780A3-722D-A38B-C38B-68EA1AD8B68B}"/>
              </a:ext>
            </a:extLst>
          </p:cNvPr>
          <p:cNvSpPr txBox="1"/>
          <p:nvPr/>
        </p:nvSpPr>
        <p:spPr>
          <a:xfrm>
            <a:off x="8608378" y="1434781"/>
            <a:ext cx="3346916" cy="4985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000" b="1" dirty="0">
                <a:solidFill>
                  <a:srgbClr val="C00000"/>
                </a:solidFill>
              </a:rPr>
              <a:t>Speculations</a:t>
            </a:r>
          </a:p>
          <a:p>
            <a:endParaRPr lang="en-AU" sz="2000" b="1" dirty="0">
              <a:solidFill>
                <a:srgbClr val="C00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1600" dirty="0">
                <a:solidFill>
                  <a:schemeClr val="tx2">
                    <a:lumMod val="75000"/>
                  </a:schemeClr>
                </a:solidFill>
              </a:rPr>
              <a:t>Failures of underspend more obviou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1600" dirty="0">
                <a:solidFill>
                  <a:schemeClr val="tx2">
                    <a:lumMod val="75000"/>
                  </a:schemeClr>
                </a:solidFill>
              </a:rPr>
              <a:t>Hospital advocates stronger voi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1600" dirty="0">
                <a:solidFill>
                  <a:schemeClr val="tx2">
                    <a:lumMod val="75000"/>
                  </a:schemeClr>
                </a:solidFill>
              </a:rPr>
              <a:t>Political attraction of more bed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1600" dirty="0">
                <a:solidFill>
                  <a:schemeClr val="tx2">
                    <a:lumMod val="75000"/>
                  </a:schemeClr>
                </a:solidFill>
              </a:rPr>
              <a:t>Poorly designed community interventions (e.g. Better Outcomes, Better Access), these interventions seeing different people from hospital admiss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1600" dirty="0">
                <a:solidFill>
                  <a:schemeClr val="tx2">
                    <a:lumMod val="75000"/>
                  </a:schemeClr>
                </a:solidFill>
              </a:rPr>
              <a:t>Naivete: expecting shift without plan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1600" dirty="0">
                <a:solidFill>
                  <a:schemeClr val="tx2">
                    <a:lumMod val="75000"/>
                  </a:schemeClr>
                </a:solidFill>
              </a:rPr>
              <a:t>Poor understanding of what works in community invest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1600" dirty="0">
                <a:solidFill>
                  <a:schemeClr val="tx2">
                    <a:lumMod val="75000"/>
                  </a:schemeClr>
                </a:solidFill>
              </a:rPr>
              <a:t>No incentive on state to make investments in community</a:t>
            </a:r>
          </a:p>
          <a:p>
            <a:endParaRPr lang="en-AU" sz="2000" b="1" dirty="0">
              <a:solidFill>
                <a:srgbClr val="C00000"/>
              </a:solidFill>
            </a:endParaRPr>
          </a:p>
          <a:p>
            <a:endParaRPr lang="en-A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626F821-5DBE-649D-CCD9-64AB863800D9}"/>
              </a:ext>
            </a:extLst>
          </p:cNvPr>
          <p:cNvSpPr/>
          <p:nvPr/>
        </p:nvSpPr>
        <p:spPr>
          <a:xfrm>
            <a:off x="8933107" y="5070248"/>
            <a:ext cx="2493778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>
                <a:solidFill>
                  <a:schemeClr val="tx1"/>
                </a:solidFill>
              </a:rPr>
              <a:t>-------------------------------</a:t>
            </a:r>
          </a:p>
          <a:p>
            <a:pPr algn="ctr"/>
            <a:r>
              <a:rPr lang="en-AU" dirty="0">
                <a:solidFill>
                  <a:schemeClr val="tx1"/>
                </a:solidFill>
              </a:rPr>
              <a:t>-----------------------------</a:t>
            </a:r>
          </a:p>
        </p:txBody>
      </p:sp>
    </p:spTree>
    <p:extLst>
      <p:ext uri="{BB962C8B-B14F-4D97-AF65-F5344CB8AC3E}">
        <p14:creationId xmlns:p14="http://schemas.microsoft.com/office/powerpoint/2010/main" val="6055423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11" grpId="0" animBg="1"/>
      <p:bldP spid="1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77438A-9B9D-E496-3712-45664D179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The little-known truth: how funds flow from the Commonwealth to the stat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24F1415-A758-012F-2751-7D4670F3E7AE}"/>
              </a:ext>
            </a:extLst>
          </p:cNvPr>
          <p:cNvSpPr/>
          <p:nvPr/>
        </p:nvSpPr>
        <p:spPr>
          <a:xfrm>
            <a:off x="865762" y="2976664"/>
            <a:ext cx="3356042" cy="63229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National Health Reform Agreement ($$)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CE671239-5117-65BB-B975-413F7678AB0E}"/>
              </a:ext>
            </a:extLst>
          </p:cNvPr>
          <p:cNvCxnSpPr>
            <a:cxnSpLocks/>
          </p:cNvCxnSpPr>
          <p:nvPr/>
        </p:nvCxnSpPr>
        <p:spPr>
          <a:xfrm>
            <a:off x="2452992" y="3628417"/>
            <a:ext cx="0" cy="17671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F335AA5F-3F3D-7741-D799-1C479AA92387}"/>
              </a:ext>
            </a:extLst>
          </p:cNvPr>
          <p:cNvSpPr/>
          <p:nvPr/>
        </p:nvSpPr>
        <p:spPr>
          <a:xfrm>
            <a:off x="700391" y="5372911"/>
            <a:ext cx="3706225" cy="121920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States on basis of activity and designated Commonwealth share ratio</a:t>
            </a:r>
          </a:p>
          <a:p>
            <a:pPr algn="ctr"/>
            <a:r>
              <a:rPr lang="en-AU" dirty="0"/>
              <a:t>(National Weighted Activity Units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2EC0D77-1D39-5489-30E1-B6C4DC722D53}"/>
              </a:ext>
            </a:extLst>
          </p:cNvPr>
          <p:cNvSpPr txBox="1"/>
          <p:nvPr/>
        </p:nvSpPr>
        <p:spPr>
          <a:xfrm>
            <a:off x="1196502" y="2023354"/>
            <a:ext cx="27821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Conventional wisdo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2A80137-2139-2217-7B04-0AD967BF3855}"/>
              </a:ext>
            </a:extLst>
          </p:cNvPr>
          <p:cNvSpPr txBox="1"/>
          <p:nvPr/>
        </p:nvSpPr>
        <p:spPr>
          <a:xfrm>
            <a:off x="7185498" y="1368359"/>
            <a:ext cx="27821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Realit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BC5DA4-3559-5F77-04B5-A2F344B2A18F}"/>
              </a:ext>
            </a:extLst>
          </p:cNvPr>
          <p:cNvSpPr/>
          <p:nvPr/>
        </p:nvSpPr>
        <p:spPr>
          <a:xfrm>
            <a:off x="6096000" y="2023354"/>
            <a:ext cx="1692613" cy="612842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GST revenu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610EA10-3318-5202-FE7F-38ADB9112544}"/>
              </a:ext>
            </a:extLst>
          </p:cNvPr>
          <p:cNvSpPr/>
          <p:nvPr/>
        </p:nvSpPr>
        <p:spPr>
          <a:xfrm>
            <a:off x="8576553" y="2003581"/>
            <a:ext cx="3356042" cy="63229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National Health Reform Agreement ($$)</a:t>
            </a:r>
          </a:p>
        </p:txBody>
      </p:sp>
      <p:sp>
        <p:nvSpPr>
          <p:cNvPr id="13" name="Plus Sign 12">
            <a:extLst>
              <a:ext uri="{FF2B5EF4-FFF2-40B4-BE49-F238E27FC236}">
                <a16:creationId xmlns:a16="http://schemas.microsoft.com/office/drawing/2014/main" id="{D4AFE39C-255F-FB36-FC30-C0A1AF4D5113}"/>
              </a:ext>
            </a:extLst>
          </p:cNvPr>
          <p:cNvSpPr/>
          <p:nvPr/>
        </p:nvSpPr>
        <p:spPr>
          <a:xfrm>
            <a:off x="7916694" y="2071594"/>
            <a:ext cx="515566" cy="496269"/>
          </a:xfrm>
          <a:prstGeom prst="mathPlus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EAAEDF4-DFF4-0DD7-9F99-04FEF9DAF998}"/>
              </a:ext>
            </a:extLst>
          </p:cNvPr>
          <p:cNvSpPr/>
          <p:nvPr/>
        </p:nvSpPr>
        <p:spPr>
          <a:xfrm>
            <a:off x="5525311" y="1676122"/>
            <a:ext cx="6507804" cy="1238973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932C773A-D11B-20FA-008C-FED58EFEBC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524" y="3262327"/>
            <a:ext cx="1883471" cy="1867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5A6F879-AED5-F262-02F1-1DD8842ACAC0}"/>
              </a:ext>
            </a:extLst>
          </p:cNvPr>
          <p:cNvSpPr/>
          <p:nvPr/>
        </p:nvSpPr>
        <p:spPr>
          <a:xfrm>
            <a:off x="6024664" y="5243732"/>
            <a:ext cx="5509098" cy="1219202"/>
          </a:xfrm>
          <a:prstGeom prst="roundRect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GST relativities</a:t>
            </a:r>
          </a:p>
        </p:txBody>
      </p:sp>
    </p:spTree>
    <p:extLst>
      <p:ext uri="{BB962C8B-B14F-4D97-AF65-F5344CB8AC3E}">
        <p14:creationId xmlns:p14="http://schemas.microsoft.com/office/powerpoint/2010/main" val="19410538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1221F8-73D2-44A9-7DC3-1789977BD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State health spend by GST categori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F9A523C-ED39-BCEE-1B49-28C0A56A9C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5250" y="1556425"/>
            <a:ext cx="9865910" cy="410623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C954F20-4A9C-26FC-03C3-B685282BCECB}"/>
              </a:ext>
            </a:extLst>
          </p:cNvPr>
          <p:cNvSpPr txBox="1"/>
          <p:nvPr/>
        </p:nvSpPr>
        <p:spPr>
          <a:xfrm>
            <a:off x="936523" y="5936658"/>
            <a:ext cx="1086336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sz="1600" dirty="0"/>
              <a:t>Source: https://www.cgc.gov.au/sites/default/files/2025-03/2025R_Commissions%20Assessment%20Methodology_Health.pdf</a:t>
            </a:r>
          </a:p>
        </p:txBody>
      </p:sp>
    </p:spTree>
    <p:extLst>
      <p:ext uri="{BB962C8B-B14F-4D97-AF65-F5344CB8AC3E}">
        <p14:creationId xmlns:p14="http://schemas.microsoft.com/office/powerpoint/2010/main" val="3044069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6F722A-E10A-B514-2573-CF21BC8F0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Factors affecting allocation to stat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DE18274-433F-6455-1E80-56B88F867D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235" y="1282426"/>
            <a:ext cx="6215771" cy="5473372"/>
          </a:xfrm>
          <a:prstGeom prst="rect">
            <a:avLst/>
          </a:prstGeom>
        </p:spPr>
      </p:pic>
      <p:sp>
        <p:nvSpPr>
          <p:cNvPr id="8" name="Speech Bubble: Rectangle with Corners Rounded 7">
            <a:extLst>
              <a:ext uri="{FF2B5EF4-FFF2-40B4-BE49-F238E27FC236}">
                <a16:creationId xmlns:a16="http://schemas.microsoft.com/office/drawing/2014/main" id="{A7500F50-9B61-4D18-1C26-9898F47A0CBB}"/>
              </a:ext>
            </a:extLst>
          </p:cNvPr>
          <p:cNvSpPr/>
          <p:nvPr/>
        </p:nvSpPr>
        <p:spPr>
          <a:xfrm>
            <a:off x="6994187" y="1191639"/>
            <a:ext cx="3842426" cy="2796701"/>
          </a:xfrm>
          <a:prstGeom prst="wedgeRoundRectCallout">
            <a:avLst>
              <a:gd name="adj1" fmla="val -73698"/>
              <a:gd name="adj2" fmla="val -26457"/>
              <a:gd name="adj3" fmla="val 16667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Socio-demographic composition:</a:t>
            </a:r>
          </a:p>
          <a:p>
            <a:pPr algn="ctr"/>
            <a:r>
              <a:rPr lang="en-US" sz="2400" dirty="0"/>
              <a:t>Age, Indigenous status, remoteness and socio-economic status influence the use and cost of services</a:t>
            </a:r>
            <a:endParaRPr lang="en-AU" sz="2400" dirty="0"/>
          </a:p>
        </p:txBody>
      </p:sp>
    </p:spTree>
    <p:extLst>
      <p:ext uri="{BB962C8B-B14F-4D97-AF65-F5344CB8AC3E}">
        <p14:creationId xmlns:p14="http://schemas.microsoft.com/office/powerpoint/2010/main" val="35140428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niversity of Melbourne">
  <a:themeElements>
    <a:clrScheme name="University of Melbourne">
      <a:dk1>
        <a:sysClr val="windowText" lastClr="000000"/>
      </a:dk1>
      <a:lt1>
        <a:sysClr val="window" lastClr="FFFFFF"/>
      </a:lt1>
      <a:dk2>
        <a:srgbClr val="094183"/>
      </a:dk2>
      <a:lt2>
        <a:srgbClr val="FFFFFF"/>
      </a:lt2>
      <a:accent1>
        <a:srgbClr val="094183"/>
      </a:accent1>
      <a:accent2>
        <a:srgbClr val="4597AD"/>
      </a:accent2>
      <a:accent3>
        <a:srgbClr val="6DAF7F"/>
      </a:accent3>
      <a:accent4>
        <a:srgbClr val="5D7FBE"/>
      </a:accent4>
      <a:accent5>
        <a:srgbClr val="DDAD6A"/>
      </a:accent5>
      <a:accent6>
        <a:srgbClr val="D1694C"/>
      </a:accent6>
      <a:hlink>
        <a:srgbClr val="000000"/>
      </a:hlink>
      <a:folHlink>
        <a:srgbClr val="000000"/>
      </a:folHlink>
    </a:clrScheme>
    <a:fontScheme name="University of Melbourne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presentation 16x9 template copyright.potx" id="{536B4FA4-5FAA-443C-9C78-6C52DBA34E61}" vid="{14C51791-37E8-4657-9CE5-D4E99BD32A32}"/>
    </a:ext>
  </a:extLst>
</a:theme>
</file>

<file path=ppt/theme/theme2.xml><?xml version="1.0" encoding="utf-8"?>
<a:theme xmlns:a="http://schemas.openxmlformats.org/drawingml/2006/main" name="University of Melbourne Patterns">
  <a:themeElements>
    <a:clrScheme name="University of Melbourne">
      <a:dk1>
        <a:sysClr val="windowText" lastClr="000000"/>
      </a:dk1>
      <a:lt1>
        <a:sysClr val="window" lastClr="FFFFFF"/>
      </a:lt1>
      <a:dk2>
        <a:srgbClr val="094183"/>
      </a:dk2>
      <a:lt2>
        <a:srgbClr val="FFFFFF"/>
      </a:lt2>
      <a:accent1>
        <a:srgbClr val="094183"/>
      </a:accent1>
      <a:accent2>
        <a:srgbClr val="4597AD"/>
      </a:accent2>
      <a:accent3>
        <a:srgbClr val="6DAF7F"/>
      </a:accent3>
      <a:accent4>
        <a:srgbClr val="5D7FBE"/>
      </a:accent4>
      <a:accent5>
        <a:srgbClr val="DDAD6A"/>
      </a:accent5>
      <a:accent6>
        <a:srgbClr val="D1694C"/>
      </a:accent6>
      <a:hlink>
        <a:srgbClr val="000000"/>
      </a:hlink>
      <a:folHlink>
        <a:srgbClr val="000000"/>
      </a:folHlink>
    </a:clrScheme>
    <a:fontScheme name="University of Melbourne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presentation 16x9 template copyright.potx" id="{536B4FA4-5FAA-443C-9C78-6C52DBA34E61}" vid="{AB136F3B-80A3-4FB0-BF85-2FB1B6DB43A3}"/>
    </a:ext>
  </a:extLst>
</a:theme>
</file>

<file path=ppt/theme/theme3.xml><?xml version="1.0" encoding="utf-8"?>
<a:theme xmlns:a="http://schemas.openxmlformats.org/drawingml/2006/main" name="University of Melbourne-Layout B">
  <a:themeElements>
    <a:clrScheme name="University of Melbourne">
      <a:dk1>
        <a:sysClr val="windowText" lastClr="000000"/>
      </a:dk1>
      <a:lt1>
        <a:sysClr val="window" lastClr="FFFFFF"/>
      </a:lt1>
      <a:dk2>
        <a:srgbClr val="094183"/>
      </a:dk2>
      <a:lt2>
        <a:srgbClr val="FFFFFF"/>
      </a:lt2>
      <a:accent1>
        <a:srgbClr val="094183"/>
      </a:accent1>
      <a:accent2>
        <a:srgbClr val="4597AD"/>
      </a:accent2>
      <a:accent3>
        <a:srgbClr val="6DAF7F"/>
      </a:accent3>
      <a:accent4>
        <a:srgbClr val="5D7FBE"/>
      </a:accent4>
      <a:accent5>
        <a:srgbClr val="DDAD6A"/>
      </a:accent5>
      <a:accent6>
        <a:srgbClr val="D1694C"/>
      </a:accent6>
      <a:hlink>
        <a:srgbClr val="000000"/>
      </a:hlink>
      <a:folHlink>
        <a:srgbClr val="000000"/>
      </a:folHlink>
    </a:clrScheme>
    <a:fontScheme name="University of Melbourne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presentation 16x9 template copyright.potx" id="{536B4FA4-5FAA-443C-9C78-6C52DBA34E61}" vid="{826CCCAB-60C9-4959-938C-0BD365A015D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UoM-PowerPoint-template-16x9</Template>
  <TotalTime>3559</TotalTime>
  <Words>1716</Words>
  <Application>Microsoft Office PowerPoint</Application>
  <PresentationFormat>Widescreen</PresentationFormat>
  <Paragraphs>200</Paragraphs>
  <Slides>1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8" baseType="lpstr">
      <vt:lpstr>Aptos</vt:lpstr>
      <vt:lpstr>Arial</vt:lpstr>
      <vt:lpstr>Calibri</vt:lpstr>
      <vt:lpstr>Courier New</vt:lpstr>
      <vt:lpstr>Georgia</vt:lpstr>
      <vt:lpstr>Karla</vt:lpstr>
      <vt:lpstr>University of Melbourne</vt:lpstr>
      <vt:lpstr>University of Melbourne Patterns</vt:lpstr>
      <vt:lpstr>University of Melbourne-Layout B</vt:lpstr>
      <vt:lpstr>think-cell Slide</vt:lpstr>
      <vt:lpstr>PowerPoint Presentation</vt:lpstr>
      <vt:lpstr>My starting point</vt:lpstr>
      <vt:lpstr>PowerPoint Presentation</vt:lpstr>
      <vt:lpstr>Agenda</vt:lpstr>
      <vt:lpstr>Revealed preference – 1 The biggest growth in spend is for hospital-based care (NB: NDIS spend not in these estimates, definitional issue)</vt:lpstr>
      <vt:lpstr>Revealed preference – 2 The biggest growth in spend is for hospital-based care</vt:lpstr>
      <vt:lpstr>The little-known truth: how funds flow from the Commonwealth to the states</vt:lpstr>
      <vt:lpstr>State health spend by GST categories</vt:lpstr>
      <vt:lpstr>Factors affecting allocation to states</vt:lpstr>
      <vt:lpstr>The expenditure identity and its implications</vt:lpstr>
      <vt:lpstr>The service (non) system</vt:lpstr>
      <vt:lpstr>EMPHN knows something about outcomes</vt:lpstr>
      <vt:lpstr>How EMPHN gets funded (and how we fund)</vt:lpstr>
      <vt:lpstr>Performance is considered across multiple levels to drive quality without losing site of detail</vt:lpstr>
      <vt:lpstr>Payment and KPI structures drive greater efficiency and effectiveness</vt:lpstr>
      <vt:lpstr>Payment mechanisms will shift over time as the system in Eastern Melbourne establishes</vt:lpstr>
      <vt:lpstr>Theory of change</vt:lpstr>
      <vt:lpstr>My starting (and ending) 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phen Duckett</dc:creator>
  <cp:lastModifiedBy>Stephen Duckett</cp:lastModifiedBy>
  <cp:revision>173</cp:revision>
  <cp:lastPrinted>2022-04-01T05:53:06Z</cp:lastPrinted>
  <dcterms:created xsi:type="dcterms:W3CDTF">2022-04-01T05:48:36Z</dcterms:created>
  <dcterms:modified xsi:type="dcterms:W3CDTF">2026-05-14T06:47:25Z</dcterms:modified>
</cp:coreProperties>
</file>